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8"/>
  </p:notesMasterIdLst>
  <p:handoutMasterIdLst>
    <p:handoutMasterId r:id="rId9"/>
  </p:handoutMasterIdLst>
  <p:sldIdLst>
    <p:sldId id="344" r:id="rId5"/>
    <p:sldId id="381" r:id="rId6"/>
    <p:sldId id="382" r:id="rId7"/>
  </p:sldIdLst>
  <p:sldSz cx="12192000" cy="6858000"/>
  <p:notesSz cx="6858000" cy="9144000"/>
  <p:custDataLst>
    <p:tags r:id="rId1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8591005-86D1-41BD-A802-3B18DFB3D6F3}">
          <p14:sldIdLst>
            <p14:sldId id="344"/>
            <p14:sldId id="381"/>
            <p14:sldId id="38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756" y="-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43D2950-3B15-4DDF-A059-2809455C9BA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7D00041-8452-4C76-8364-68CDCDDB35C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915A48-902D-410C-991E-E95D3089D64A}" type="datetimeFigureOut">
              <a:rPr lang="en-GB" smtClean="0"/>
              <a:t>17/10/2023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965B2A-9F56-4500-83A7-0711C522ED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7DB462-E06B-4D0D-8135-07C53E876F0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85C987-8BBE-452E-818C-76529FC3F6A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06956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0189FA1E-560B-441B-8633-A555D6EDABD2}" type="datetimeFigureOut">
              <a:rPr lang="en-GB" smtClean="0"/>
              <a:pPr/>
              <a:t>17/10/2023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648326" y="830179"/>
            <a:ext cx="3561348" cy="200325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36884" y="3056021"/>
            <a:ext cx="6184232" cy="494497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4A895AC2-3CA9-45FC-897F-256207571E0D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2804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blue - patter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486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0" name="Grafik 49" descr="Ein Bild, das drinnen, Outdoorobjekt, Spinnennetz enthält.&#10;&#10;Automatisch generierte Beschreibung">
            <a:extLst>
              <a:ext uri="{FF2B5EF4-FFF2-40B4-BE49-F238E27FC236}">
                <a16:creationId xmlns:a16="http://schemas.microsoft.com/office/drawing/2014/main" id="{C5D0D987-28F0-4CC3-BAE8-6A9E5806CA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14057" y="0"/>
            <a:ext cx="8577943" cy="6858000"/>
          </a:xfrm>
          <a:prstGeom prst="rect">
            <a:avLst/>
          </a:prstGeom>
        </p:spPr>
      </p:pic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 userDrawn="1"/>
        </p:nvGrpSpPr>
        <p:grpSpPr>
          <a:xfrm>
            <a:off x="270000" y="270000"/>
            <a:ext cx="1346400" cy="244836"/>
            <a:chOff x="270000" y="270000"/>
            <a:chExt cx="1346400" cy="244836"/>
          </a:xfrm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Titl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, </a:t>
            </a:r>
            <a:br>
              <a:rPr lang="en-US"/>
            </a:br>
            <a:r>
              <a:rPr lang="en-US"/>
              <a:t>Place, Date Inter 12pt</a:t>
            </a:r>
          </a:p>
        </p:txBody>
      </p:sp>
    </p:spTree>
    <p:extLst>
      <p:ext uri="{BB962C8B-B14F-4D97-AF65-F5344CB8AC3E}">
        <p14:creationId xmlns:p14="http://schemas.microsoft.com/office/powerpoint/2010/main" val="357859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whit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4788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1166495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63B0BBE-C8D1-4B8A-86AD-5F18CA64F4F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5748FC-EE3E-4320-997D-166154297E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057657D-7D04-4A43-B422-F6065D8AA9D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AB147CD-F44C-49F4-BBD7-07B808F457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000" y="2605389"/>
            <a:ext cx="5651500" cy="3344562"/>
          </a:xfrm>
        </p:spPr>
        <p:txBody>
          <a:bodyPr/>
          <a:lstStyle>
            <a:lvl1pPr rtl="0">
              <a:tabLst>
                <a:tab pos="355600" algn="l"/>
              </a:tabLst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C170A1-A61A-418F-A3F4-E4A62509A3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83325" y="2605389"/>
            <a:ext cx="5638800" cy="3344561"/>
          </a:xfrm>
        </p:spPr>
        <p:txBody>
          <a:bodyPr/>
          <a:lstStyle>
            <a:lvl1pPr rtl="0">
              <a:tabLst>
                <a:tab pos="355600" algn="l"/>
              </a:tabLst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485115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white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8092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403200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14A86269-F360-46CC-9E3E-FB55A79D73B1}"/>
              </a:ext>
            </a:extLst>
          </p:cNvPr>
          <p:cNvSpPr/>
          <p:nvPr userDrawn="1"/>
        </p:nvSpPr>
        <p:spPr bwMode="invGray">
          <a:xfrm>
            <a:off x="4591254" y="-1"/>
            <a:ext cx="7602228" cy="6858001"/>
          </a:xfrm>
          <a:custGeom>
            <a:avLst/>
            <a:gdLst>
              <a:gd name="connsiteX0" fmla="*/ 3293816 w 7602228"/>
              <a:gd name="connsiteY0" fmla="*/ 4038523 h 6858001"/>
              <a:gd name="connsiteX1" fmla="*/ 4309498 w 7602228"/>
              <a:gd name="connsiteY1" fmla="*/ 4038523 h 6858001"/>
              <a:gd name="connsiteX2" fmla="*/ 4309498 w 7602228"/>
              <a:gd name="connsiteY2" fmla="*/ 6858001 h 6858001"/>
              <a:gd name="connsiteX3" fmla="*/ 3293816 w 7602228"/>
              <a:gd name="connsiteY3" fmla="*/ 6858001 h 6858001"/>
              <a:gd name="connsiteX4" fmla="*/ 1268071 w 7602228"/>
              <a:gd name="connsiteY4" fmla="*/ 3540455 h 6858001"/>
              <a:gd name="connsiteX5" fmla="*/ 2395990 w 7602228"/>
              <a:gd name="connsiteY5" fmla="*/ 3540455 h 6858001"/>
              <a:gd name="connsiteX6" fmla="*/ 1128430 w 7602228"/>
              <a:gd name="connsiteY6" fmla="*/ 6074552 h 6858001"/>
              <a:gd name="connsiteX7" fmla="*/ 0 w 7602228"/>
              <a:gd name="connsiteY7" fmla="*/ 6074552 h 6858001"/>
              <a:gd name="connsiteX8" fmla="*/ 3037787 w 7602228"/>
              <a:gd name="connsiteY8" fmla="*/ 0 h 6858001"/>
              <a:gd name="connsiteX9" fmla="*/ 4565464 w 7602228"/>
              <a:gd name="connsiteY9" fmla="*/ 0 h 6858001"/>
              <a:gd name="connsiteX10" fmla="*/ 7602228 w 7602228"/>
              <a:gd name="connsiteY10" fmla="*/ 6076086 h 6858001"/>
              <a:gd name="connsiteX11" fmla="*/ 6474309 w 7602228"/>
              <a:gd name="connsiteY11" fmla="*/ 6076086 h 6858001"/>
              <a:gd name="connsiteX12" fmla="*/ 3801657 w 7602228"/>
              <a:gd name="connsiteY12" fmla="*/ 730206 h 6858001"/>
              <a:gd name="connsiteX13" fmla="*/ 3154686 w 7602228"/>
              <a:gd name="connsiteY13" fmla="*/ 2023126 h 6858001"/>
              <a:gd name="connsiteX14" fmla="*/ 2026256 w 7602228"/>
              <a:gd name="connsiteY14" fmla="*/ 202312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602228" h="6858001">
                <a:moveTo>
                  <a:pt x="3293816" y="4038523"/>
                </a:moveTo>
                <a:lnTo>
                  <a:pt x="4309498" y="4038523"/>
                </a:lnTo>
                <a:lnTo>
                  <a:pt x="4309498" y="6858001"/>
                </a:lnTo>
                <a:lnTo>
                  <a:pt x="3293816" y="6858001"/>
                </a:lnTo>
                <a:close/>
                <a:moveTo>
                  <a:pt x="1268071" y="3540455"/>
                </a:moveTo>
                <a:lnTo>
                  <a:pt x="2395990" y="3540455"/>
                </a:lnTo>
                <a:lnTo>
                  <a:pt x="1128430" y="6074552"/>
                </a:lnTo>
                <a:lnTo>
                  <a:pt x="0" y="6074552"/>
                </a:lnTo>
                <a:close/>
                <a:moveTo>
                  <a:pt x="3037787" y="0"/>
                </a:moveTo>
                <a:lnTo>
                  <a:pt x="4565464" y="0"/>
                </a:lnTo>
                <a:lnTo>
                  <a:pt x="7602228" y="6076086"/>
                </a:lnTo>
                <a:lnTo>
                  <a:pt x="6474309" y="6076086"/>
                </a:lnTo>
                <a:lnTo>
                  <a:pt x="3801657" y="730206"/>
                </a:lnTo>
                <a:lnTo>
                  <a:pt x="3154686" y="2023126"/>
                </a:lnTo>
                <a:lnTo>
                  <a:pt x="2026256" y="2023126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827A40-2243-41D2-AAC1-26ADF3EB25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A8824A-0ACB-42C0-BB07-64293511051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CE2B5BB-65FA-4E86-B566-4591BB4776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161F6F9-FC25-4A71-8BF1-274245F8F6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000" y="2605389"/>
            <a:ext cx="4032000" cy="3340100"/>
          </a:xfrm>
        </p:spPr>
        <p:txBody>
          <a:bodyPr/>
          <a:lstStyle>
            <a:lvl1pPr rtl="0">
              <a:tabLst>
                <a:tab pos="355600" algn="l"/>
              </a:tabLst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983408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white - small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6297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1166495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8" name="Grafik 2">
            <a:extLst>
              <a:ext uri="{FF2B5EF4-FFF2-40B4-BE49-F238E27FC236}">
                <a16:creationId xmlns:a16="http://schemas.microsoft.com/office/drawing/2014/main" id="{F834D6E4-1C6E-4069-9F58-E568CAF900C2}"/>
              </a:ext>
            </a:extLst>
          </p:cNvPr>
          <p:cNvSpPr>
            <a:spLocks/>
          </p:cNvSpPr>
          <p:nvPr userDrawn="1"/>
        </p:nvSpPr>
        <p:spPr>
          <a:xfrm>
            <a:off x="270001" y="2605389"/>
            <a:ext cx="1684964" cy="1115585"/>
          </a:xfrm>
          <a:custGeom>
            <a:avLst/>
            <a:gdLst>
              <a:gd name="connsiteX0" fmla="*/ 228596 w 228600"/>
              <a:gd name="connsiteY0" fmla="*/ 60095 h 151352"/>
              <a:gd name="connsiteX1" fmla="*/ 228596 w 228600"/>
              <a:gd name="connsiteY1" fmla="*/ 90384 h 151352"/>
              <a:gd name="connsiteX2" fmla="*/ 109153 w 228600"/>
              <a:gd name="connsiteY2" fmla="*/ 151344 h 151352"/>
              <a:gd name="connsiteX3" fmla="*/ 100390 w 228600"/>
              <a:gd name="connsiteY3" fmla="*/ 134390 h 151352"/>
              <a:gd name="connsiteX4" fmla="*/ 209546 w 228600"/>
              <a:gd name="connsiteY4" fmla="*/ 78668 h 151352"/>
              <a:gd name="connsiteX5" fmla="*/ 209546 w 228600"/>
              <a:gd name="connsiteY5" fmla="*/ 71810 h 151352"/>
              <a:gd name="connsiteX6" fmla="*/ 183448 w 228600"/>
              <a:gd name="connsiteY6" fmla="*/ 58666 h 151352"/>
              <a:gd name="connsiteX7" fmla="*/ 191925 w 228600"/>
              <a:gd name="connsiteY7" fmla="*/ 41711 h 151352"/>
              <a:gd name="connsiteX8" fmla="*/ 158111 w 228600"/>
              <a:gd name="connsiteY8" fmla="*/ 24662 h 151352"/>
              <a:gd name="connsiteX9" fmla="*/ 109057 w 228600"/>
              <a:gd name="connsiteY9" fmla="*/ -8 h 151352"/>
              <a:gd name="connsiteX10" fmla="*/ 100485 w 228600"/>
              <a:gd name="connsiteY10" fmla="*/ 17042 h 151352"/>
              <a:gd name="connsiteX11" fmla="*/ 149539 w 228600"/>
              <a:gd name="connsiteY11" fmla="*/ 41711 h 151352"/>
              <a:gd name="connsiteX12" fmla="*/ 133346 w 228600"/>
              <a:gd name="connsiteY12" fmla="*/ 66191 h 151352"/>
              <a:gd name="connsiteX13" fmla="*/ -4 w 228600"/>
              <a:gd name="connsiteY13" fmla="*/ 66191 h 151352"/>
              <a:gd name="connsiteX14" fmla="*/ -4 w 228600"/>
              <a:gd name="connsiteY14" fmla="*/ 85241 h 151352"/>
              <a:gd name="connsiteX15" fmla="*/ 133346 w 228600"/>
              <a:gd name="connsiteY15" fmla="*/ 85241 h 151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8600" h="151352">
                <a:moveTo>
                  <a:pt x="228596" y="60095"/>
                </a:moveTo>
                <a:lnTo>
                  <a:pt x="228596" y="90384"/>
                </a:lnTo>
                <a:lnTo>
                  <a:pt x="109153" y="151344"/>
                </a:lnTo>
                <a:lnTo>
                  <a:pt x="100390" y="134390"/>
                </a:lnTo>
                <a:lnTo>
                  <a:pt x="209546" y="78668"/>
                </a:lnTo>
                <a:lnTo>
                  <a:pt x="209546" y="71810"/>
                </a:lnTo>
                <a:lnTo>
                  <a:pt x="183448" y="58666"/>
                </a:lnTo>
                <a:lnTo>
                  <a:pt x="191925" y="41711"/>
                </a:lnTo>
                <a:close/>
                <a:moveTo>
                  <a:pt x="158111" y="24662"/>
                </a:moveTo>
                <a:lnTo>
                  <a:pt x="109057" y="-8"/>
                </a:lnTo>
                <a:lnTo>
                  <a:pt x="100485" y="17042"/>
                </a:lnTo>
                <a:lnTo>
                  <a:pt x="149539" y="41711"/>
                </a:lnTo>
                <a:close/>
                <a:moveTo>
                  <a:pt x="133346" y="66191"/>
                </a:moveTo>
                <a:lnTo>
                  <a:pt x="-4" y="66191"/>
                </a:lnTo>
                <a:lnTo>
                  <a:pt x="-4" y="85241"/>
                </a:lnTo>
                <a:lnTo>
                  <a:pt x="133346" y="8524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EDC45DE-3C3C-46B4-A3CB-33A5815FE84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C0EF7AF-B27F-43A3-AA77-707F7FCBD96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9D895A-F629-410E-AC2A-B842E8BD2F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95230CD-1D36-40F1-95B3-D371D01E59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59262" y="2605388"/>
            <a:ext cx="5652000" cy="3344562"/>
          </a:xfrm>
        </p:spPr>
        <p:txBody>
          <a:bodyPr/>
          <a:lstStyle>
            <a:lvl1pPr rtl="0">
              <a:tabLst>
                <a:tab pos="355600" algn="l"/>
              </a:tabLst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2612430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683">
          <p15:clr>
            <a:srgbClr val="FBAE40"/>
          </p15:clr>
        </p15:guide>
        <p15:guide id="3" pos="2479">
          <p15:clr>
            <a:srgbClr val="FBAE40"/>
          </p15:clr>
        </p15:guide>
        <p15:guide id="7" orient="horz" pos="374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blue -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681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/>
          <p:nvPr userDrawn="1"/>
        </p:nvSpPr>
        <p:spPr>
          <a:xfrm>
            <a:off x="762000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49" name="Freihandform: Form 48">
            <a:extLst>
              <a:ext uri="{FF2B5EF4-FFF2-40B4-BE49-F238E27FC236}">
                <a16:creationId xmlns:a16="http://schemas.microsoft.com/office/drawing/2014/main" id="{B5B84EF5-2C63-4B4D-8C1F-4659BDC6CF47}"/>
              </a:ext>
            </a:extLst>
          </p:cNvPr>
          <p:cNvSpPr/>
          <p:nvPr userDrawn="1"/>
        </p:nvSpPr>
        <p:spPr bwMode="invGray">
          <a:xfrm>
            <a:off x="8450404" y="-3475"/>
            <a:ext cx="3741596" cy="6861519"/>
          </a:xfrm>
          <a:custGeom>
            <a:avLst/>
            <a:gdLst>
              <a:gd name="connsiteX0" fmla="*/ 2229661 w 3741596"/>
              <a:gd name="connsiteY0" fmla="*/ 2733771 h 6861519"/>
              <a:gd name="connsiteX1" fmla="*/ 2917201 w 3741596"/>
              <a:gd name="connsiteY1" fmla="*/ 2733771 h 6861519"/>
              <a:gd name="connsiteX2" fmla="*/ 2917201 w 3741596"/>
              <a:gd name="connsiteY2" fmla="*/ 6861519 h 6861519"/>
              <a:gd name="connsiteX3" fmla="*/ 2229661 w 3741596"/>
              <a:gd name="connsiteY3" fmla="*/ 6861519 h 6861519"/>
              <a:gd name="connsiteX4" fmla="*/ 858387 w 3741596"/>
              <a:gd name="connsiteY4" fmla="*/ 2396617 h 6861519"/>
              <a:gd name="connsiteX5" fmla="*/ 1621902 w 3741596"/>
              <a:gd name="connsiteY5" fmla="*/ 2396617 h 6861519"/>
              <a:gd name="connsiteX6" fmla="*/ 763861 w 3741596"/>
              <a:gd name="connsiteY6" fmla="*/ 4112008 h 6861519"/>
              <a:gd name="connsiteX7" fmla="*/ 0 w 3741596"/>
              <a:gd name="connsiteY7" fmla="*/ 4112008 h 6861519"/>
              <a:gd name="connsiteX8" fmla="*/ 2056349 w 3741596"/>
              <a:gd name="connsiteY8" fmla="*/ 0 h 6861519"/>
              <a:gd name="connsiteX9" fmla="*/ 3090470 w 3741596"/>
              <a:gd name="connsiteY9" fmla="*/ 0 h 6861519"/>
              <a:gd name="connsiteX10" fmla="*/ 3741596 w 3741596"/>
              <a:gd name="connsiteY10" fmla="*/ 1302800 h 6861519"/>
              <a:gd name="connsiteX11" fmla="*/ 3741596 w 3741596"/>
              <a:gd name="connsiteY11" fmla="*/ 2830876 h 6861519"/>
              <a:gd name="connsiteX12" fmla="*/ 2573431 w 3741596"/>
              <a:gd name="connsiteY12" fmla="*/ 494294 h 6861519"/>
              <a:gd name="connsiteX13" fmla="*/ 2135481 w 3741596"/>
              <a:gd name="connsiteY13" fmla="*/ 1369502 h 6861519"/>
              <a:gd name="connsiteX14" fmla="*/ 1371620 w 3741596"/>
              <a:gd name="connsiteY14" fmla="*/ 1369502 h 6861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741596" h="6861519">
                <a:moveTo>
                  <a:pt x="2229661" y="2733771"/>
                </a:moveTo>
                <a:lnTo>
                  <a:pt x="2917201" y="2733771"/>
                </a:lnTo>
                <a:lnTo>
                  <a:pt x="2917201" y="6861519"/>
                </a:lnTo>
                <a:lnTo>
                  <a:pt x="2229661" y="6861519"/>
                </a:lnTo>
                <a:close/>
                <a:moveTo>
                  <a:pt x="858387" y="2396617"/>
                </a:moveTo>
                <a:lnTo>
                  <a:pt x="1621902" y="2396617"/>
                </a:lnTo>
                <a:lnTo>
                  <a:pt x="763861" y="4112008"/>
                </a:lnTo>
                <a:lnTo>
                  <a:pt x="0" y="4112008"/>
                </a:lnTo>
                <a:close/>
                <a:moveTo>
                  <a:pt x="2056349" y="0"/>
                </a:moveTo>
                <a:lnTo>
                  <a:pt x="3090470" y="0"/>
                </a:lnTo>
                <a:lnTo>
                  <a:pt x="3741596" y="1302800"/>
                </a:lnTo>
                <a:lnTo>
                  <a:pt x="3741596" y="2830876"/>
                </a:lnTo>
                <a:lnTo>
                  <a:pt x="2573431" y="494294"/>
                </a:lnTo>
                <a:lnTo>
                  <a:pt x="2135481" y="1369502"/>
                </a:lnTo>
                <a:lnTo>
                  <a:pt x="1371620" y="1369502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 rtl="0"/>
            <a:endParaRPr lang="en-US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B91CBA8-3A30-4319-912F-DAE49A826C0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2AB80AD-C777-4398-89D4-114DD23D749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7BA5CCC-CF7E-4023-AAB8-4F9D6F65117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80347F-E47B-42E6-BF6D-EF72399B58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wrap="square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DC409F3-15C2-4EA9-AB91-5401A5AB68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1883877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blue - pattern lar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6373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 userDrawn="1"/>
        </p:nvSpPr>
        <p:spPr>
          <a:xfrm>
            <a:off x="762000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FB547CC-EC28-4E0E-971E-3704F93507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pic>
        <p:nvPicPr>
          <p:cNvPr id="3" name="Grafik 2" descr="Ein Bild, das drinnen, Spinnennetz, Outdoorobjekt enthält.&#10;&#10;Automatisch generierte Beschreibung">
            <a:extLst>
              <a:ext uri="{FF2B5EF4-FFF2-40B4-BE49-F238E27FC236}">
                <a16:creationId xmlns:a16="http://schemas.microsoft.com/office/drawing/2014/main" id="{6FD2616D-BD55-4F15-B7AC-7E455D2103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619997" y="0"/>
            <a:ext cx="4572001" cy="6858000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E3225D3-78FC-40A1-A1F1-7AA2B154073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4114991-A17E-465D-AECF-12FE07368C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6B4B218-F60B-4903-9F66-F175BEF97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14262FF-389E-44A8-81D2-FBA0BC697F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35913747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blue - pattern smal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800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 userDrawn="1"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CAFB210-046F-423B-85DC-6A56724C18F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1A40FF4-C9CD-4F74-A138-76E09F6B26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9250" y="0"/>
            <a:ext cx="3032750" cy="6858000"/>
          </a:xfrm>
          <a:prstGeom prst="rect">
            <a:avLst/>
          </a:prstGeom>
        </p:spPr>
      </p:pic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411C6F4-4A8E-4A90-9AF2-882241B4FFF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3AF5274-F30F-418E-9F88-CB80224F33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892BB4E-53AC-4B52-8C82-C63DBA85DD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098BC8E-53C6-4DB5-9B50-698F56E94C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27443002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blue -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758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E60CFC4-9E30-4A3B-B662-BE9F6856742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620000" y="0"/>
            <a:ext cx="4572000" cy="6858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EBEDB8C-86A8-4C72-9617-3D972145DF7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B54211-391E-47DC-BF9F-7FA9EA133A2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9E94535-1C60-46E6-8C2F-C9828D82CE7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FCE8-D0F7-4D5F-9CDF-5EF68D204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6864C45-E0B0-4D47-BD53-91CC103216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17152056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blue - pattern &amp;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697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 userDrawn="1"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pic>
        <p:nvPicPr>
          <p:cNvPr id="6" name="Grafik 5" descr="Ein Bild, das drinnen, Spinnennetz, Outdoorobjekt enthält.&#10;&#10;Automatisch generierte Beschreibung">
            <a:extLst>
              <a:ext uri="{FF2B5EF4-FFF2-40B4-BE49-F238E27FC236}">
                <a16:creationId xmlns:a16="http://schemas.microsoft.com/office/drawing/2014/main" id="{07BDFB63-EE62-42C1-9F45-01837B8F7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159250" y="3607536"/>
            <a:ext cx="3032750" cy="3250464"/>
          </a:xfrm>
          <a:prstGeom prst="rect">
            <a:avLst/>
          </a:prstGeom>
        </p:spPr>
      </p:pic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44B831F-6823-4954-95E7-DA34917246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59250" y="0"/>
            <a:ext cx="303275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69C443F-9284-42C8-9C39-FD5694CBDF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4FD5CCA-0946-4A9D-B3CE-4BA5DE75EE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109A756-17C1-499C-93AB-102CFE29E9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4D798EE-1C7F-4231-8AAD-19CAD94B4C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2DEBE81-7B6B-4ADF-B7DB-8AACC43BC4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29531588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blue - arrow &amp;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944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 userDrawn="1"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44B831F-6823-4954-95E7-DA34917246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59250" y="0"/>
            <a:ext cx="303275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69C443F-9284-42C8-9C39-FD5694CBDF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4FD5CCA-0946-4A9D-B3CE-4BA5DE75EE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109A756-17C1-499C-93AB-102CFE29E9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7" name="Freihandform: Form 46">
            <a:extLst>
              <a:ext uri="{FF2B5EF4-FFF2-40B4-BE49-F238E27FC236}">
                <a16:creationId xmlns:a16="http://schemas.microsoft.com/office/drawing/2014/main" id="{876B2284-802F-4040-A697-BADE2628B14A}"/>
              </a:ext>
            </a:extLst>
          </p:cNvPr>
          <p:cNvSpPr>
            <a:spLocks/>
          </p:cNvSpPr>
          <p:nvPr userDrawn="1"/>
        </p:nvSpPr>
        <p:spPr bwMode="gray">
          <a:xfrm>
            <a:off x="9794834" y="3970817"/>
            <a:ext cx="1759033" cy="2345367"/>
          </a:xfrm>
          <a:custGeom>
            <a:avLst/>
            <a:gdLst>
              <a:gd name="connsiteX0" fmla="*/ -1070 w 119009"/>
              <a:gd name="connsiteY0" fmla="*/ 95094 h 158678"/>
              <a:gd name="connsiteX1" fmla="*/ 16595 w 119009"/>
              <a:gd name="connsiteY1" fmla="*/ 95094 h 158678"/>
              <a:gd name="connsiteX2" fmla="*/ 36438 w 119009"/>
              <a:gd name="connsiteY2" fmla="*/ 55424 h 158678"/>
              <a:gd name="connsiteX3" fmla="*/ 18781 w 119009"/>
              <a:gd name="connsiteY3" fmla="*/ 55424 h 158678"/>
              <a:gd name="connsiteX4" fmla="*/ 70400 w 119009"/>
              <a:gd name="connsiteY4" fmla="*/ 0 h 158678"/>
              <a:gd name="connsiteX5" fmla="*/ 46485 w 119009"/>
              <a:gd name="connsiteY5" fmla="*/ 0 h 158678"/>
              <a:gd name="connsiteX6" fmla="*/ 30650 w 119009"/>
              <a:gd name="connsiteY6" fmla="*/ 31671 h 158678"/>
              <a:gd name="connsiteX7" fmla="*/ 48315 w 119009"/>
              <a:gd name="connsiteY7" fmla="*/ 31671 h 158678"/>
              <a:gd name="connsiteX8" fmla="*/ 58443 w 119009"/>
              <a:gd name="connsiteY8" fmla="*/ 11431 h 158678"/>
              <a:gd name="connsiteX9" fmla="*/ 100282 w 119009"/>
              <a:gd name="connsiteY9" fmla="*/ 95118 h 158678"/>
              <a:gd name="connsiteX10" fmla="*/ 117939 w 119009"/>
              <a:gd name="connsiteY10" fmla="*/ 95118 h 158678"/>
              <a:gd name="connsiteX11" fmla="*/ 50493 w 119009"/>
              <a:gd name="connsiteY11" fmla="*/ 63221 h 158678"/>
              <a:gd name="connsiteX12" fmla="*/ 66393 w 119009"/>
              <a:gd name="connsiteY12" fmla="*/ 63221 h 158678"/>
              <a:gd name="connsiteX13" fmla="*/ 66393 w 119009"/>
              <a:gd name="connsiteY13" fmla="*/ 158679 h 158678"/>
              <a:gd name="connsiteX14" fmla="*/ 50493 w 119009"/>
              <a:gd name="connsiteY14" fmla="*/ 158679 h 15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9009" h="158678">
                <a:moveTo>
                  <a:pt x="-1070" y="95094"/>
                </a:moveTo>
                <a:lnTo>
                  <a:pt x="16595" y="95094"/>
                </a:lnTo>
                <a:lnTo>
                  <a:pt x="36438" y="55424"/>
                </a:lnTo>
                <a:lnTo>
                  <a:pt x="18781" y="55424"/>
                </a:lnTo>
                <a:close/>
                <a:moveTo>
                  <a:pt x="70400" y="0"/>
                </a:moveTo>
                <a:lnTo>
                  <a:pt x="46485" y="0"/>
                </a:lnTo>
                <a:lnTo>
                  <a:pt x="30650" y="31671"/>
                </a:lnTo>
                <a:lnTo>
                  <a:pt x="48315" y="31671"/>
                </a:lnTo>
                <a:lnTo>
                  <a:pt x="58443" y="11431"/>
                </a:lnTo>
                <a:lnTo>
                  <a:pt x="100282" y="95118"/>
                </a:lnTo>
                <a:lnTo>
                  <a:pt x="117939" y="95118"/>
                </a:lnTo>
                <a:close/>
                <a:moveTo>
                  <a:pt x="50493" y="63221"/>
                </a:moveTo>
                <a:lnTo>
                  <a:pt x="66393" y="63221"/>
                </a:lnTo>
                <a:lnTo>
                  <a:pt x="66393" y="158679"/>
                </a:lnTo>
                <a:lnTo>
                  <a:pt x="50493" y="158679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 rtl="0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1D1A5D-2283-410B-9E37-E96675064F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9E97865-F960-4F8F-96C4-D08D25C9DAF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20297902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white - pattern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8771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 userDrawn="1"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accent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44B831F-6823-4954-95E7-DA34917246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59250" y="0"/>
            <a:ext cx="303275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4FD5CCA-0946-4A9D-B3CE-4BA5DE75EE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pic>
        <p:nvPicPr>
          <p:cNvPr id="14" name="Grafik 13" descr="Ein Bild, das drinnen, Spinnennetz, Outdoorobjekt enthält.&#10;&#10;Automatisch generierte Beschreibung">
            <a:extLst>
              <a:ext uri="{FF2B5EF4-FFF2-40B4-BE49-F238E27FC236}">
                <a16:creationId xmlns:a16="http://schemas.microsoft.com/office/drawing/2014/main" id="{65540075-B01C-45B5-BBB4-25141308C9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159250" y="3607536"/>
            <a:ext cx="3032750" cy="3250464"/>
          </a:xfrm>
          <a:prstGeom prst="rect">
            <a:avLst/>
          </a:prstGeom>
        </p:spPr>
      </p:pic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69C443F-9284-42C8-9C39-FD5694CBDF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109A756-17C1-499C-93AB-102CFE29E9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14303F9-48AE-4CC9-94B8-F7953FA25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C336E8B-B380-4F55-B3FD-A8003FCD02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3404892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blue -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1146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 userDrawn="1"/>
        </p:nvGrpSpPr>
        <p:grpSpPr>
          <a:xfrm>
            <a:off x="270000" y="270000"/>
            <a:ext cx="1346400" cy="244836"/>
            <a:chOff x="270000" y="270000"/>
            <a:chExt cx="1346400" cy="244836"/>
          </a:xfrm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Titl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, </a:t>
            </a:r>
            <a:br>
              <a:rPr lang="en-US"/>
            </a:br>
            <a:r>
              <a:rPr lang="en-US"/>
              <a:t>Place, Date Inter 12pt</a:t>
            </a:r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C44E781B-3F9A-4BE7-97BD-4332B650C4C2}"/>
              </a:ext>
            </a:extLst>
          </p:cNvPr>
          <p:cNvSpPr/>
          <p:nvPr userDrawn="1"/>
        </p:nvSpPr>
        <p:spPr bwMode="invGray">
          <a:xfrm>
            <a:off x="4591254" y="-1"/>
            <a:ext cx="7602228" cy="6858001"/>
          </a:xfrm>
          <a:custGeom>
            <a:avLst/>
            <a:gdLst>
              <a:gd name="connsiteX0" fmla="*/ 3293816 w 7602228"/>
              <a:gd name="connsiteY0" fmla="*/ 4038523 h 6858001"/>
              <a:gd name="connsiteX1" fmla="*/ 4309498 w 7602228"/>
              <a:gd name="connsiteY1" fmla="*/ 4038523 h 6858001"/>
              <a:gd name="connsiteX2" fmla="*/ 4309498 w 7602228"/>
              <a:gd name="connsiteY2" fmla="*/ 6858001 h 6858001"/>
              <a:gd name="connsiteX3" fmla="*/ 3293816 w 7602228"/>
              <a:gd name="connsiteY3" fmla="*/ 6858001 h 6858001"/>
              <a:gd name="connsiteX4" fmla="*/ 1268071 w 7602228"/>
              <a:gd name="connsiteY4" fmla="*/ 3540455 h 6858001"/>
              <a:gd name="connsiteX5" fmla="*/ 2395990 w 7602228"/>
              <a:gd name="connsiteY5" fmla="*/ 3540455 h 6858001"/>
              <a:gd name="connsiteX6" fmla="*/ 1128430 w 7602228"/>
              <a:gd name="connsiteY6" fmla="*/ 6074552 h 6858001"/>
              <a:gd name="connsiteX7" fmla="*/ 0 w 7602228"/>
              <a:gd name="connsiteY7" fmla="*/ 6074552 h 6858001"/>
              <a:gd name="connsiteX8" fmla="*/ 3037787 w 7602228"/>
              <a:gd name="connsiteY8" fmla="*/ 0 h 6858001"/>
              <a:gd name="connsiteX9" fmla="*/ 4565464 w 7602228"/>
              <a:gd name="connsiteY9" fmla="*/ 0 h 6858001"/>
              <a:gd name="connsiteX10" fmla="*/ 7602228 w 7602228"/>
              <a:gd name="connsiteY10" fmla="*/ 6076086 h 6858001"/>
              <a:gd name="connsiteX11" fmla="*/ 6474309 w 7602228"/>
              <a:gd name="connsiteY11" fmla="*/ 6076086 h 6858001"/>
              <a:gd name="connsiteX12" fmla="*/ 3801657 w 7602228"/>
              <a:gd name="connsiteY12" fmla="*/ 730206 h 6858001"/>
              <a:gd name="connsiteX13" fmla="*/ 3154686 w 7602228"/>
              <a:gd name="connsiteY13" fmla="*/ 2023126 h 6858001"/>
              <a:gd name="connsiteX14" fmla="*/ 2026256 w 7602228"/>
              <a:gd name="connsiteY14" fmla="*/ 202312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602228" h="6858001">
                <a:moveTo>
                  <a:pt x="3293816" y="4038523"/>
                </a:moveTo>
                <a:lnTo>
                  <a:pt x="4309498" y="4038523"/>
                </a:lnTo>
                <a:lnTo>
                  <a:pt x="4309498" y="6858001"/>
                </a:lnTo>
                <a:lnTo>
                  <a:pt x="3293816" y="6858001"/>
                </a:lnTo>
                <a:close/>
                <a:moveTo>
                  <a:pt x="1268071" y="3540455"/>
                </a:moveTo>
                <a:lnTo>
                  <a:pt x="2395990" y="3540455"/>
                </a:lnTo>
                <a:lnTo>
                  <a:pt x="1128430" y="6074552"/>
                </a:lnTo>
                <a:lnTo>
                  <a:pt x="0" y="6074552"/>
                </a:lnTo>
                <a:close/>
                <a:moveTo>
                  <a:pt x="3037787" y="0"/>
                </a:moveTo>
                <a:lnTo>
                  <a:pt x="4565464" y="0"/>
                </a:lnTo>
                <a:lnTo>
                  <a:pt x="7602228" y="6076086"/>
                </a:lnTo>
                <a:lnTo>
                  <a:pt x="6474309" y="6076086"/>
                </a:lnTo>
                <a:lnTo>
                  <a:pt x="3801657" y="730206"/>
                </a:lnTo>
                <a:lnTo>
                  <a:pt x="3154686" y="2023126"/>
                </a:lnTo>
                <a:lnTo>
                  <a:pt x="2026256" y="202312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973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white - arrow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922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ABEB68DB-D429-470B-9F61-960355E206D9}"/>
              </a:ext>
            </a:extLst>
          </p:cNvPr>
          <p:cNvSpPr>
            <a:spLocks/>
          </p:cNvSpPr>
          <p:nvPr userDrawn="1"/>
        </p:nvSpPr>
        <p:spPr>
          <a:xfrm>
            <a:off x="9159250" y="0"/>
            <a:ext cx="30327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accent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44B831F-6823-4954-95E7-DA34917246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59250" y="0"/>
            <a:ext cx="303275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69C443F-9284-42C8-9C39-FD5694CBDF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4FD5CCA-0946-4A9D-B3CE-4BA5DE75EE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109A756-17C1-499C-93AB-102CFE29E94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7" name="Freihandform: Form 46">
            <a:extLst>
              <a:ext uri="{FF2B5EF4-FFF2-40B4-BE49-F238E27FC236}">
                <a16:creationId xmlns:a16="http://schemas.microsoft.com/office/drawing/2014/main" id="{876B2284-802F-4040-A697-BADE2628B14A}"/>
              </a:ext>
            </a:extLst>
          </p:cNvPr>
          <p:cNvSpPr>
            <a:spLocks/>
          </p:cNvSpPr>
          <p:nvPr userDrawn="1"/>
        </p:nvSpPr>
        <p:spPr bwMode="gray">
          <a:xfrm>
            <a:off x="9794834" y="3970817"/>
            <a:ext cx="1759033" cy="2345367"/>
          </a:xfrm>
          <a:custGeom>
            <a:avLst/>
            <a:gdLst>
              <a:gd name="connsiteX0" fmla="*/ -1070 w 119009"/>
              <a:gd name="connsiteY0" fmla="*/ 95094 h 158678"/>
              <a:gd name="connsiteX1" fmla="*/ 16595 w 119009"/>
              <a:gd name="connsiteY1" fmla="*/ 95094 h 158678"/>
              <a:gd name="connsiteX2" fmla="*/ 36438 w 119009"/>
              <a:gd name="connsiteY2" fmla="*/ 55424 h 158678"/>
              <a:gd name="connsiteX3" fmla="*/ 18781 w 119009"/>
              <a:gd name="connsiteY3" fmla="*/ 55424 h 158678"/>
              <a:gd name="connsiteX4" fmla="*/ 70400 w 119009"/>
              <a:gd name="connsiteY4" fmla="*/ 0 h 158678"/>
              <a:gd name="connsiteX5" fmla="*/ 46485 w 119009"/>
              <a:gd name="connsiteY5" fmla="*/ 0 h 158678"/>
              <a:gd name="connsiteX6" fmla="*/ 30650 w 119009"/>
              <a:gd name="connsiteY6" fmla="*/ 31671 h 158678"/>
              <a:gd name="connsiteX7" fmla="*/ 48315 w 119009"/>
              <a:gd name="connsiteY7" fmla="*/ 31671 h 158678"/>
              <a:gd name="connsiteX8" fmla="*/ 58443 w 119009"/>
              <a:gd name="connsiteY8" fmla="*/ 11431 h 158678"/>
              <a:gd name="connsiteX9" fmla="*/ 100282 w 119009"/>
              <a:gd name="connsiteY9" fmla="*/ 95118 h 158678"/>
              <a:gd name="connsiteX10" fmla="*/ 117939 w 119009"/>
              <a:gd name="connsiteY10" fmla="*/ 95118 h 158678"/>
              <a:gd name="connsiteX11" fmla="*/ 50493 w 119009"/>
              <a:gd name="connsiteY11" fmla="*/ 63221 h 158678"/>
              <a:gd name="connsiteX12" fmla="*/ 66393 w 119009"/>
              <a:gd name="connsiteY12" fmla="*/ 63221 h 158678"/>
              <a:gd name="connsiteX13" fmla="*/ 66393 w 119009"/>
              <a:gd name="connsiteY13" fmla="*/ 158679 h 158678"/>
              <a:gd name="connsiteX14" fmla="*/ 50493 w 119009"/>
              <a:gd name="connsiteY14" fmla="*/ 158679 h 15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9009" h="158678">
                <a:moveTo>
                  <a:pt x="-1070" y="95094"/>
                </a:moveTo>
                <a:lnTo>
                  <a:pt x="16595" y="95094"/>
                </a:lnTo>
                <a:lnTo>
                  <a:pt x="36438" y="55424"/>
                </a:lnTo>
                <a:lnTo>
                  <a:pt x="18781" y="55424"/>
                </a:lnTo>
                <a:close/>
                <a:moveTo>
                  <a:pt x="70400" y="0"/>
                </a:moveTo>
                <a:lnTo>
                  <a:pt x="46485" y="0"/>
                </a:lnTo>
                <a:lnTo>
                  <a:pt x="30650" y="31671"/>
                </a:lnTo>
                <a:lnTo>
                  <a:pt x="48315" y="31671"/>
                </a:lnTo>
                <a:lnTo>
                  <a:pt x="58443" y="11431"/>
                </a:lnTo>
                <a:lnTo>
                  <a:pt x="100282" y="95118"/>
                </a:lnTo>
                <a:lnTo>
                  <a:pt x="117939" y="95118"/>
                </a:lnTo>
                <a:close/>
                <a:moveTo>
                  <a:pt x="50493" y="63221"/>
                </a:moveTo>
                <a:lnTo>
                  <a:pt x="66393" y="63221"/>
                </a:lnTo>
                <a:lnTo>
                  <a:pt x="66393" y="158679"/>
                </a:lnTo>
                <a:lnTo>
                  <a:pt x="50493" y="158679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 rtl="0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75BFBF-A250-4746-A32C-35C6A715E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65A1254-52BD-447B-B318-FDF9B893EA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1378898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26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C2805F5-06CE-4348-A1F9-BF670A9B853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0AD82894-4E7C-4FF2-87D4-2C601C3628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D623280-8450-4A1B-9617-8BF985EFD52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CA1F3B6-A97A-47EE-991B-1314BC0F8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5652000" cy="1255728"/>
          </a:xfrm>
        </p:spPr>
        <p:txBody>
          <a:bodyPr vert="horz" anchor="b">
            <a:spAutoFit/>
          </a:bodyPr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pPr lvl="0"/>
            <a:r>
              <a:rPr lang="en-US"/>
              <a:t>CHAPTER SLID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1C0781-E49D-47FA-BA90-FA87BB6107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63525" y="3729239"/>
            <a:ext cx="5652000" cy="246221"/>
          </a:xfrm>
        </p:spPr>
        <p:txBody>
          <a:bodyPr>
            <a:sp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</p:spTree>
    <p:extLst>
      <p:ext uri="{BB962C8B-B14F-4D97-AF65-F5344CB8AC3E}">
        <p14:creationId xmlns:p14="http://schemas.microsoft.com/office/powerpoint/2010/main" val="33201756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747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11664950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11664950" cy="307777"/>
          </a:xfrm>
        </p:spPr>
        <p:txBody>
          <a:bodyPr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1166495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0D49D087-F4ED-424A-931A-61F63F962B1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4651464-1791-4D7F-B9EE-E471643D310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60902CC-7D63-44DC-806E-574173E7A02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FC5D895-28C4-4B86-A0EC-906A17671C6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1166495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2723182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3748" userDrawn="1">
          <p15:clr>
            <a:srgbClr val="FBAE40"/>
          </p15:clr>
        </p15:guide>
        <p15:guide id="8" orient="horz" pos="91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2969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11664950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11664950" cy="307777"/>
          </a:xfrm>
        </p:spPr>
        <p:txBody>
          <a:bodyPr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1166495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202A20E-AD24-4C09-A31C-70CC298BB47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F33CD6A-6E9C-4046-9EFD-29FFB3ADA69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7BCA531-50E1-459F-9902-226C79E48AB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20C5181-D230-4E7B-9815-0404DB7CF4C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5653088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8F86F89-DEAE-4DDE-8897-CBED0ACF896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75388" y="1449388"/>
            <a:ext cx="5653087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3135347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7" orient="horz" pos="3748" userDrawn="1">
          <p15:clr>
            <a:srgbClr val="FBAE40"/>
          </p15:clr>
        </p15:guide>
        <p15:guide id="8" orient="horz" pos="913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9317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11664950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11664950" cy="307777"/>
          </a:xfrm>
        </p:spPr>
        <p:txBody>
          <a:bodyPr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1166495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47A41DD-F5FB-4463-81C4-5544710E4A2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7"/>
            <a:ext cx="3671888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3523357-129A-4D5A-B1F8-45EB1EF8015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1887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24C6F04E-A06C-46A7-923B-A4C78431FAD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256588" y="1449388"/>
            <a:ext cx="3671887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095686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 userDrawn="1">
          <p15:clr>
            <a:srgbClr val="FBAE40"/>
          </p15:clr>
        </p15:guide>
        <p15:guide id="4" pos="2683" userDrawn="1">
          <p15:clr>
            <a:srgbClr val="FBAE40"/>
          </p15:clr>
        </p15:guide>
        <p15:guide id="5" pos="4997" userDrawn="1">
          <p15:clr>
            <a:srgbClr val="FBAE40"/>
          </p15:clr>
        </p15:guide>
        <p15:guide id="6" pos="5201" userDrawn="1">
          <p15:clr>
            <a:srgbClr val="FBAE40"/>
          </p15:clr>
        </p15:guide>
        <p15:guide id="7" orient="horz" pos="3748" userDrawn="1">
          <p15:clr>
            <a:srgbClr val="FBAE40"/>
          </p15:clr>
        </p15:guide>
        <p15:guide id="8" orient="horz" pos="913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757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7506E5E-E6D2-410C-8351-E1402ED2C7F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6" y="229880"/>
            <a:ext cx="5653087" cy="461665"/>
          </a:xfrm>
        </p:spPr>
        <p:txBody>
          <a:bodyPr vert="horz" wrap="square">
            <a:noAutofit/>
          </a:bodyPr>
          <a:lstStyle>
            <a:lvl1pPr rtl="0">
              <a:defRPr/>
            </a:lvl1pPr>
          </a:lstStyle>
          <a:p>
            <a:r>
              <a:rPr lang="en-US"/>
              <a:t>Headline Inter Medium bo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5653088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565200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26AFF5D4-C8F2-4A8E-BCBF-E70F0E4B85C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E27BBFCD-08EE-446E-8CDF-2A38890B78E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7DE4462-9FDC-4399-B396-EAA162F607C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C9AA55-153A-48B5-9FD1-9F6DC42F82C1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63525" y="1449388"/>
            <a:ext cx="5653088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2443389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  <p15:guide id="9" pos="3840" userDrawn="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blue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6612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34F4A8EE-9682-47B2-8EA8-33DB4E9CCB5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6" y="229880"/>
            <a:ext cx="5653088" cy="461665"/>
          </a:xfrm>
        </p:spPr>
        <p:txBody>
          <a:bodyPr vert="horz" wrap="square">
            <a:noAutofit/>
          </a:bodyPr>
          <a:lstStyle>
            <a:lvl1pPr rtl="0">
              <a:defRPr/>
            </a:lvl1pPr>
          </a:lstStyle>
          <a:p>
            <a:r>
              <a:rPr lang="en-US"/>
              <a:t>Headline Inter Medium bold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5653088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5653088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BF294DF-DAFC-42FF-BBAC-51DAA239F35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673AD8A-8F22-467C-A617-15D2C69FC6B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9CB0FF0-C14E-4567-8E9E-F2E71915944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E2A9B68-DB9E-48EB-B87D-D33ECC31E8D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56515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1C7D69FD-CF0F-41C1-877A-74075006E8BA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75388" y="1449388"/>
            <a:ext cx="5651500" cy="4500562"/>
          </a:xfrm>
        </p:spPr>
        <p:txBody>
          <a:bodyPr/>
          <a:lstStyle>
            <a:lvl1pPr rtl="0"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370778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  <p15:guide id="9" pos="3840" userDrawn="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blue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226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F7D173B-4D49-4B2F-A470-A04AACB0FE96}"/>
              </a:ext>
            </a:extLst>
          </p:cNvPr>
          <p:cNvSpPr>
            <a:spLocks/>
          </p:cNvSpPr>
          <p:nvPr userDrawn="1"/>
        </p:nvSpPr>
        <p:spPr>
          <a:xfrm>
            <a:off x="808800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FD27395-3F27-41C0-996C-1E32579BE62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C5BBCF9-0800-4F77-B2EF-E97E279E65D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F5BEEB53-DF1B-4C20-9973-2B5AAFCCD30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256588" y="1449388"/>
            <a:ext cx="3670300" cy="4500562"/>
          </a:xfrm>
        </p:spPr>
        <p:txBody>
          <a:bodyPr/>
          <a:lstStyle>
            <a:lvl1pPr rtl="0"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4151762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2 columns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502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94AD4C86-8B13-4FCD-966D-856B66F5CD0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88000" y="0"/>
            <a:ext cx="4104000" cy="6858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7C92EA-99DA-4F08-BCA6-FEEF81DEE93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F4112BB7-D218-4D9F-87BF-7FAE2DDB1DF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418785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2 columns &amp; patter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191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F7D173B-4D49-4B2F-A470-A04AACB0FE96}"/>
              </a:ext>
            </a:extLst>
          </p:cNvPr>
          <p:cNvSpPr>
            <a:spLocks/>
          </p:cNvSpPr>
          <p:nvPr userDrawn="1"/>
        </p:nvSpPr>
        <p:spPr>
          <a:xfrm>
            <a:off x="808800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pic>
        <p:nvPicPr>
          <p:cNvPr id="16" name="Grafik 15" descr="Ein Bild, das drinnen, Outdoorobjekt, Spinnennetz enthält.&#10;&#10;Automatisch generierte Beschreibung">
            <a:extLst>
              <a:ext uri="{FF2B5EF4-FFF2-40B4-BE49-F238E27FC236}">
                <a16:creationId xmlns:a16="http://schemas.microsoft.com/office/drawing/2014/main" id="{74C1059C-7582-4CB3-B8EE-C027A5FC4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3"/>
          <a:stretch/>
        </p:blipFill>
        <p:spPr>
          <a:xfrm flipH="1">
            <a:off x="8088000" y="590018"/>
            <a:ext cx="4104000" cy="626798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0142F50-7DA1-44CF-B670-5CE7B413E896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E1F52021-9479-4A18-985F-4AA1F4BFF19A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690438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blue -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2909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 userDrawn="1"/>
        </p:nvGrpSpPr>
        <p:grpSpPr>
          <a:xfrm>
            <a:off x="270000" y="270000"/>
            <a:ext cx="1346400" cy="244836"/>
            <a:chOff x="270000" y="270000"/>
            <a:chExt cx="1346400" cy="244836"/>
          </a:xfrm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solidFill>
              <a:schemeClr val="bg1"/>
            </a:solidFill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Titl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, </a:t>
            </a:r>
            <a:br>
              <a:rPr lang="en-US"/>
            </a:br>
            <a:r>
              <a:rPr lang="en-US"/>
              <a:t>Place, Date Inter 12pt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18F3B326-7E40-4C04-9D7A-2BDF39C7402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111875" cy="6858000"/>
          </a:xfrm>
          <a:solidFill>
            <a:schemeClr val="accent4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650777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2 columns &amp; patter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436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F7D173B-4D49-4B2F-A470-A04AACB0FE96}"/>
              </a:ext>
            </a:extLst>
          </p:cNvPr>
          <p:cNvSpPr>
            <a:spLocks/>
          </p:cNvSpPr>
          <p:nvPr userDrawn="1"/>
        </p:nvSpPr>
        <p:spPr>
          <a:xfrm>
            <a:off x="808800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9213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9213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76BBEB8-9136-4964-AFD7-C8F311FB46A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13D6006C-EB36-413E-82E4-E7968928515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00F170F-5283-46F8-9471-AD2C1776A4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825" y="0"/>
            <a:ext cx="4107175" cy="6858000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148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2 columns &amp; patter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79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800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0CFC00-8CDA-443B-BF45-C2A1AE2E1C0F}"/>
              </a:ext>
            </a:extLst>
          </p:cNvPr>
          <p:cNvSpPr>
            <a:spLocks/>
          </p:cNvSpPr>
          <p:nvPr userDrawn="1"/>
        </p:nvSpPr>
        <p:spPr>
          <a:xfrm>
            <a:off x="9156698" y="0"/>
            <a:ext cx="303530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754AE76-E44D-4BDB-B56D-4E84F5301E05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1888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E6F7972-255E-4F1F-BDCF-CBD81B2AEB9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20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D44EC2A9-9A8F-4864-8FFB-F38AFCEF6C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9250" y="0"/>
            <a:ext cx="3032750" cy="6858000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45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658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F7D173B-4D49-4B2F-A470-A04AACB0FE96}"/>
              </a:ext>
            </a:extLst>
          </p:cNvPr>
          <p:cNvSpPr>
            <a:spLocks/>
          </p:cNvSpPr>
          <p:nvPr userDrawn="1"/>
        </p:nvSpPr>
        <p:spPr>
          <a:xfrm>
            <a:off x="808800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7258B2BD-D15E-4AB6-BCD4-4AB908E0990A}"/>
              </a:ext>
            </a:extLst>
          </p:cNvPr>
          <p:cNvSpPr/>
          <p:nvPr userDrawn="1"/>
        </p:nvSpPr>
        <p:spPr bwMode="gray">
          <a:xfrm>
            <a:off x="8735618" y="-3475"/>
            <a:ext cx="3456382" cy="6861519"/>
          </a:xfrm>
          <a:custGeom>
            <a:avLst/>
            <a:gdLst>
              <a:gd name="connsiteX0" fmla="*/ 2229661 w 3456382"/>
              <a:gd name="connsiteY0" fmla="*/ 2733772 h 6861519"/>
              <a:gd name="connsiteX1" fmla="*/ 2917201 w 3456382"/>
              <a:gd name="connsiteY1" fmla="*/ 2733772 h 6861519"/>
              <a:gd name="connsiteX2" fmla="*/ 2917201 w 3456382"/>
              <a:gd name="connsiteY2" fmla="*/ 6861519 h 6861519"/>
              <a:gd name="connsiteX3" fmla="*/ 2229661 w 3456382"/>
              <a:gd name="connsiteY3" fmla="*/ 6861519 h 6861519"/>
              <a:gd name="connsiteX4" fmla="*/ 858387 w 3456382"/>
              <a:gd name="connsiteY4" fmla="*/ 2396618 h 6861519"/>
              <a:gd name="connsiteX5" fmla="*/ 1621902 w 3456382"/>
              <a:gd name="connsiteY5" fmla="*/ 2396618 h 6861519"/>
              <a:gd name="connsiteX6" fmla="*/ 763861 w 3456382"/>
              <a:gd name="connsiteY6" fmla="*/ 4112008 h 6861519"/>
              <a:gd name="connsiteX7" fmla="*/ 0 w 3456382"/>
              <a:gd name="connsiteY7" fmla="*/ 4112008 h 6861519"/>
              <a:gd name="connsiteX8" fmla="*/ 2056349 w 3456382"/>
              <a:gd name="connsiteY8" fmla="*/ 0 h 6861519"/>
              <a:gd name="connsiteX9" fmla="*/ 3090470 w 3456382"/>
              <a:gd name="connsiteY9" fmla="*/ 0 h 6861519"/>
              <a:gd name="connsiteX10" fmla="*/ 3456382 w 3456382"/>
              <a:gd name="connsiteY10" fmla="*/ 732132 h 6861519"/>
              <a:gd name="connsiteX11" fmla="*/ 3456382 w 3456382"/>
              <a:gd name="connsiteY11" fmla="*/ 2260386 h 6861519"/>
              <a:gd name="connsiteX12" fmla="*/ 2573431 w 3456382"/>
              <a:gd name="connsiteY12" fmla="*/ 494294 h 6861519"/>
              <a:gd name="connsiteX13" fmla="*/ 2135481 w 3456382"/>
              <a:gd name="connsiteY13" fmla="*/ 1369502 h 6861519"/>
              <a:gd name="connsiteX14" fmla="*/ 1371620 w 3456382"/>
              <a:gd name="connsiteY14" fmla="*/ 1369502 h 6861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456382" h="6861519">
                <a:moveTo>
                  <a:pt x="2229661" y="2733772"/>
                </a:moveTo>
                <a:lnTo>
                  <a:pt x="2917201" y="2733772"/>
                </a:lnTo>
                <a:lnTo>
                  <a:pt x="2917201" y="6861519"/>
                </a:lnTo>
                <a:lnTo>
                  <a:pt x="2229661" y="6861519"/>
                </a:lnTo>
                <a:close/>
                <a:moveTo>
                  <a:pt x="858387" y="2396618"/>
                </a:moveTo>
                <a:lnTo>
                  <a:pt x="1621902" y="2396618"/>
                </a:lnTo>
                <a:lnTo>
                  <a:pt x="763861" y="4112008"/>
                </a:lnTo>
                <a:lnTo>
                  <a:pt x="0" y="4112008"/>
                </a:lnTo>
                <a:close/>
                <a:moveTo>
                  <a:pt x="2056349" y="0"/>
                </a:moveTo>
                <a:lnTo>
                  <a:pt x="3090470" y="0"/>
                </a:lnTo>
                <a:lnTo>
                  <a:pt x="3456382" y="732132"/>
                </a:lnTo>
                <a:lnTo>
                  <a:pt x="3456382" y="2260386"/>
                </a:lnTo>
                <a:lnTo>
                  <a:pt x="2573431" y="494294"/>
                </a:lnTo>
                <a:lnTo>
                  <a:pt x="2135481" y="1369502"/>
                </a:lnTo>
                <a:lnTo>
                  <a:pt x="1371620" y="1369502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9213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AFB5618-E9E5-4E49-B1E3-45D3FC9B4A0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7C348BD-FDFC-4C3B-89DE-8FD4B5865EE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3660605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2" pos="3953">
          <p15:clr>
            <a:srgbClr val="FBAE40"/>
          </p15:clr>
        </p15:guide>
        <p15:guide id="3" pos="3727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arrow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808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7668634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7668634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766800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B0CFC00-8CDA-443B-BF45-C2A1AE2E1C0F}"/>
              </a:ext>
            </a:extLst>
          </p:cNvPr>
          <p:cNvSpPr>
            <a:spLocks/>
          </p:cNvSpPr>
          <p:nvPr userDrawn="1"/>
        </p:nvSpPr>
        <p:spPr>
          <a:xfrm>
            <a:off x="9156698" y="0"/>
            <a:ext cx="303530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02E805C6-E84D-4A07-888B-9FB9BFDEACD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156700" y="0"/>
            <a:ext cx="3035300" cy="3429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FBBEE1D7-855C-42E2-824D-C2F5CC4DB569}"/>
              </a:ext>
            </a:extLst>
          </p:cNvPr>
          <p:cNvSpPr>
            <a:spLocks/>
          </p:cNvSpPr>
          <p:nvPr userDrawn="1"/>
        </p:nvSpPr>
        <p:spPr bwMode="gray">
          <a:xfrm>
            <a:off x="9794834" y="3970817"/>
            <a:ext cx="1759033" cy="2345367"/>
          </a:xfrm>
          <a:custGeom>
            <a:avLst/>
            <a:gdLst>
              <a:gd name="connsiteX0" fmla="*/ -1070 w 119009"/>
              <a:gd name="connsiteY0" fmla="*/ 95094 h 158678"/>
              <a:gd name="connsiteX1" fmla="*/ 16595 w 119009"/>
              <a:gd name="connsiteY1" fmla="*/ 95094 h 158678"/>
              <a:gd name="connsiteX2" fmla="*/ 36438 w 119009"/>
              <a:gd name="connsiteY2" fmla="*/ 55424 h 158678"/>
              <a:gd name="connsiteX3" fmla="*/ 18781 w 119009"/>
              <a:gd name="connsiteY3" fmla="*/ 55424 h 158678"/>
              <a:gd name="connsiteX4" fmla="*/ 70400 w 119009"/>
              <a:gd name="connsiteY4" fmla="*/ 0 h 158678"/>
              <a:gd name="connsiteX5" fmla="*/ 46485 w 119009"/>
              <a:gd name="connsiteY5" fmla="*/ 0 h 158678"/>
              <a:gd name="connsiteX6" fmla="*/ 30650 w 119009"/>
              <a:gd name="connsiteY6" fmla="*/ 31671 h 158678"/>
              <a:gd name="connsiteX7" fmla="*/ 48315 w 119009"/>
              <a:gd name="connsiteY7" fmla="*/ 31671 h 158678"/>
              <a:gd name="connsiteX8" fmla="*/ 58443 w 119009"/>
              <a:gd name="connsiteY8" fmla="*/ 11431 h 158678"/>
              <a:gd name="connsiteX9" fmla="*/ 100282 w 119009"/>
              <a:gd name="connsiteY9" fmla="*/ 95118 h 158678"/>
              <a:gd name="connsiteX10" fmla="*/ 117939 w 119009"/>
              <a:gd name="connsiteY10" fmla="*/ 95118 h 158678"/>
              <a:gd name="connsiteX11" fmla="*/ 50493 w 119009"/>
              <a:gd name="connsiteY11" fmla="*/ 63221 h 158678"/>
              <a:gd name="connsiteX12" fmla="*/ 66393 w 119009"/>
              <a:gd name="connsiteY12" fmla="*/ 63221 h 158678"/>
              <a:gd name="connsiteX13" fmla="*/ 66393 w 119009"/>
              <a:gd name="connsiteY13" fmla="*/ 158679 h 158678"/>
              <a:gd name="connsiteX14" fmla="*/ 50493 w 119009"/>
              <a:gd name="connsiteY14" fmla="*/ 158679 h 15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9009" h="158678">
                <a:moveTo>
                  <a:pt x="-1070" y="95094"/>
                </a:moveTo>
                <a:lnTo>
                  <a:pt x="16595" y="95094"/>
                </a:lnTo>
                <a:lnTo>
                  <a:pt x="36438" y="55424"/>
                </a:lnTo>
                <a:lnTo>
                  <a:pt x="18781" y="55424"/>
                </a:lnTo>
                <a:close/>
                <a:moveTo>
                  <a:pt x="70400" y="0"/>
                </a:moveTo>
                <a:lnTo>
                  <a:pt x="46485" y="0"/>
                </a:lnTo>
                <a:lnTo>
                  <a:pt x="30650" y="31671"/>
                </a:lnTo>
                <a:lnTo>
                  <a:pt x="48315" y="31671"/>
                </a:lnTo>
                <a:lnTo>
                  <a:pt x="58443" y="11431"/>
                </a:lnTo>
                <a:lnTo>
                  <a:pt x="100282" y="95118"/>
                </a:lnTo>
                <a:lnTo>
                  <a:pt x="117939" y="95118"/>
                </a:lnTo>
                <a:close/>
                <a:moveTo>
                  <a:pt x="50493" y="63221"/>
                </a:moveTo>
                <a:lnTo>
                  <a:pt x="66393" y="63221"/>
                </a:lnTo>
                <a:lnTo>
                  <a:pt x="66393" y="158679"/>
                </a:lnTo>
                <a:lnTo>
                  <a:pt x="50493" y="158679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47762F-19CC-4D61-998C-18AA8D80B449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263525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250C7F3C-6233-46AB-90D6-551477951463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4259263" y="1449388"/>
            <a:ext cx="3670300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346484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3 columns &amp;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291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29880"/>
            <a:ext cx="11664950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525" y="683089"/>
            <a:ext cx="11664950" cy="307777"/>
          </a:xfrm>
        </p:spPr>
        <p:txBody>
          <a:bodyPr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3525" y="6076176"/>
            <a:ext cx="11664950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0A05889-6E4F-42E6-ACBC-C81C06105177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263525" y="1449388"/>
            <a:ext cx="3671888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marL="895350" indent="-179388" defTabSz="808038"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BA2009F8-231F-4A0F-ADDC-7EDBDAA459FF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59263" y="1449386"/>
            <a:ext cx="3671887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696ACA37-06DB-4106-9D64-1CA98A588E41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255000" y="1449387"/>
            <a:ext cx="3673475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21" name="Inhaltsplatzhalter 20">
            <a:extLst>
              <a:ext uri="{FF2B5EF4-FFF2-40B4-BE49-F238E27FC236}">
                <a16:creationId xmlns:a16="http://schemas.microsoft.com/office/drawing/2014/main" id="{1BA55846-8CAC-49BD-8143-FA6B69F8767F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263525" y="3861948"/>
            <a:ext cx="3673475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24" name="Inhaltsplatzhalter 23">
            <a:extLst>
              <a:ext uri="{FF2B5EF4-FFF2-40B4-BE49-F238E27FC236}">
                <a16:creationId xmlns:a16="http://schemas.microsoft.com/office/drawing/2014/main" id="{2EDA8475-E04B-4B64-B4D1-4F5E765A16D6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259263" y="3861948"/>
            <a:ext cx="3673475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34DE9313-5FC6-4736-A450-A8B7D37DFAD2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8256588" y="3861948"/>
            <a:ext cx="3671887" cy="2088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522956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5" pos="4997">
          <p15:clr>
            <a:srgbClr val="FBAE40"/>
          </p15:clr>
        </p15:guide>
        <p15:guide id="6" pos="5201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patter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840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AF1A5936-F8DE-4713-8273-589D0015C74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9263" y="229880"/>
            <a:ext cx="7669212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59263" y="683089"/>
            <a:ext cx="7669212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9263" y="6076176"/>
            <a:ext cx="7669212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66C6F6E-3D67-4796-8249-6923FB4D5C6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59842" y="1449388"/>
            <a:ext cx="7669212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pic>
        <p:nvPicPr>
          <p:cNvPr id="18" name="Grafik 17" descr="Ein Bild, das drinnen, Outdoorobjekt, Spinnennetz enthält.&#10;&#10;Automatisch generierte Beschreibung">
            <a:extLst>
              <a:ext uri="{FF2B5EF4-FFF2-40B4-BE49-F238E27FC236}">
                <a16:creationId xmlns:a16="http://schemas.microsoft.com/office/drawing/2014/main" id="{0989CB71-08CE-47D2-B781-E7E59E455E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53"/>
          <a:stretch/>
        </p:blipFill>
        <p:spPr>
          <a:xfrm flipH="1">
            <a:off x="0" y="590018"/>
            <a:ext cx="4104000" cy="6267982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white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41DACF8-2F5B-4975-913A-04450B47F539}"/>
              </a:ext>
            </a:extLst>
          </p:cNvPr>
          <p:cNvGrpSpPr/>
          <p:nvPr userDrawn="1"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D2D681CA-BED4-4597-8D5A-D9F9768C7948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44AD01-F00D-4CE7-BB97-231D06B1F329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25F523D8-34BB-4127-8767-16CEC3D550AB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602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- arrow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059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AF1A5936-F8DE-4713-8273-589D0015C74A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410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 rtl="0"/>
            <a:endParaRPr lang="en-US" sz="1400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E19D339-24A5-4AFB-8A0D-01FC286BBA93}"/>
              </a:ext>
            </a:extLst>
          </p:cNvPr>
          <p:cNvSpPr>
            <a:spLocks/>
          </p:cNvSpPr>
          <p:nvPr userDrawn="1"/>
        </p:nvSpPr>
        <p:spPr bwMode="gray">
          <a:xfrm>
            <a:off x="647618" y="-3475"/>
            <a:ext cx="3456382" cy="6861519"/>
          </a:xfrm>
          <a:custGeom>
            <a:avLst/>
            <a:gdLst>
              <a:gd name="connsiteX0" fmla="*/ 2229661 w 3456382"/>
              <a:gd name="connsiteY0" fmla="*/ 2733772 h 6861519"/>
              <a:gd name="connsiteX1" fmla="*/ 2917201 w 3456382"/>
              <a:gd name="connsiteY1" fmla="*/ 2733772 h 6861519"/>
              <a:gd name="connsiteX2" fmla="*/ 2917201 w 3456382"/>
              <a:gd name="connsiteY2" fmla="*/ 6861519 h 6861519"/>
              <a:gd name="connsiteX3" fmla="*/ 2229661 w 3456382"/>
              <a:gd name="connsiteY3" fmla="*/ 6861519 h 6861519"/>
              <a:gd name="connsiteX4" fmla="*/ 858387 w 3456382"/>
              <a:gd name="connsiteY4" fmla="*/ 2396618 h 6861519"/>
              <a:gd name="connsiteX5" fmla="*/ 1621902 w 3456382"/>
              <a:gd name="connsiteY5" fmla="*/ 2396618 h 6861519"/>
              <a:gd name="connsiteX6" fmla="*/ 763861 w 3456382"/>
              <a:gd name="connsiteY6" fmla="*/ 4112008 h 6861519"/>
              <a:gd name="connsiteX7" fmla="*/ 0 w 3456382"/>
              <a:gd name="connsiteY7" fmla="*/ 4112008 h 6861519"/>
              <a:gd name="connsiteX8" fmla="*/ 2056349 w 3456382"/>
              <a:gd name="connsiteY8" fmla="*/ 0 h 6861519"/>
              <a:gd name="connsiteX9" fmla="*/ 3090470 w 3456382"/>
              <a:gd name="connsiteY9" fmla="*/ 0 h 6861519"/>
              <a:gd name="connsiteX10" fmla="*/ 3456382 w 3456382"/>
              <a:gd name="connsiteY10" fmla="*/ 732132 h 6861519"/>
              <a:gd name="connsiteX11" fmla="*/ 3456382 w 3456382"/>
              <a:gd name="connsiteY11" fmla="*/ 2260386 h 6861519"/>
              <a:gd name="connsiteX12" fmla="*/ 2573431 w 3456382"/>
              <a:gd name="connsiteY12" fmla="*/ 494294 h 6861519"/>
              <a:gd name="connsiteX13" fmla="*/ 2135481 w 3456382"/>
              <a:gd name="connsiteY13" fmla="*/ 1369502 h 6861519"/>
              <a:gd name="connsiteX14" fmla="*/ 1371620 w 3456382"/>
              <a:gd name="connsiteY14" fmla="*/ 1369502 h 6861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456382" h="6861519">
                <a:moveTo>
                  <a:pt x="2229661" y="2733772"/>
                </a:moveTo>
                <a:lnTo>
                  <a:pt x="2917201" y="2733772"/>
                </a:lnTo>
                <a:lnTo>
                  <a:pt x="2917201" y="6861519"/>
                </a:lnTo>
                <a:lnTo>
                  <a:pt x="2229661" y="6861519"/>
                </a:lnTo>
                <a:close/>
                <a:moveTo>
                  <a:pt x="858387" y="2396618"/>
                </a:moveTo>
                <a:lnTo>
                  <a:pt x="1621902" y="2396618"/>
                </a:lnTo>
                <a:lnTo>
                  <a:pt x="763861" y="4112008"/>
                </a:lnTo>
                <a:lnTo>
                  <a:pt x="0" y="4112008"/>
                </a:lnTo>
                <a:close/>
                <a:moveTo>
                  <a:pt x="2056349" y="0"/>
                </a:moveTo>
                <a:lnTo>
                  <a:pt x="3090470" y="0"/>
                </a:lnTo>
                <a:lnTo>
                  <a:pt x="3456382" y="732132"/>
                </a:lnTo>
                <a:lnTo>
                  <a:pt x="3456382" y="2260386"/>
                </a:lnTo>
                <a:lnTo>
                  <a:pt x="2573431" y="494294"/>
                </a:lnTo>
                <a:lnTo>
                  <a:pt x="2135481" y="1369502"/>
                </a:lnTo>
                <a:lnTo>
                  <a:pt x="1371620" y="1369502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9263" y="229880"/>
            <a:ext cx="7669212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59263" y="683089"/>
            <a:ext cx="7669212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9263" y="6076176"/>
            <a:ext cx="7669212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white"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41DACF8-2F5B-4975-913A-04450B47F539}"/>
              </a:ext>
            </a:extLst>
          </p:cNvPr>
          <p:cNvGrpSpPr/>
          <p:nvPr userDrawn="1"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D2D681CA-BED4-4597-8D5A-D9F9768C7948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F444AD01-F00D-4CE7-BB97-231D06B1F329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25F523D8-34BB-4127-8767-16CEC3D550AB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A4DB5C8-1242-4218-B406-524CDEEE870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59842" y="1449388"/>
            <a:ext cx="7669212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2369629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white -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755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39ECB866-6BC4-476E-A243-AAEEEE98FD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4103688" cy="6858000"/>
          </a:xfrm>
          <a:custGeom>
            <a:avLst/>
            <a:gdLst>
              <a:gd name="connsiteX0" fmla="*/ 644822 w 4103688"/>
              <a:gd name="connsiteY0" fmla="*/ 6525737 h 6858000"/>
              <a:gd name="connsiteX1" fmla="*/ 620244 w 4103688"/>
              <a:gd name="connsiteY1" fmla="*/ 6574870 h 6858000"/>
              <a:gd name="connsiteX2" fmla="*/ 647589 w 4103688"/>
              <a:gd name="connsiteY2" fmla="*/ 6574870 h 6858000"/>
              <a:gd name="connsiteX3" fmla="*/ 663359 w 4103688"/>
              <a:gd name="connsiteY3" fmla="*/ 6543410 h 6858000"/>
              <a:gd name="connsiteX4" fmla="*/ 728153 w 4103688"/>
              <a:gd name="connsiteY4" fmla="*/ 6673136 h 6858000"/>
              <a:gd name="connsiteX5" fmla="*/ 755498 w 4103688"/>
              <a:gd name="connsiteY5" fmla="*/ 6673136 h 6858000"/>
              <a:gd name="connsiteX6" fmla="*/ 681699 w 4103688"/>
              <a:gd name="connsiteY6" fmla="*/ 6525737 h 6858000"/>
              <a:gd name="connsiteX7" fmla="*/ 448200 w 4103688"/>
              <a:gd name="connsiteY7" fmla="*/ 6525716 h 6858000"/>
              <a:gd name="connsiteX8" fmla="*/ 448200 w 4103688"/>
              <a:gd name="connsiteY8" fmla="*/ 6574871 h 6858000"/>
              <a:gd name="connsiteX9" fmla="*/ 472778 w 4103688"/>
              <a:gd name="connsiteY9" fmla="*/ 6574871 h 6858000"/>
              <a:gd name="connsiteX10" fmla="*/ 472778 w 4103688"/>
              <a:gd name="connsiteY10" fmla="*/ 6550305 h 6858000"/>
              <a:gd name="connsiteX11" fmla="*/ 558811 w 4103688"/>
              <a:gd name="connsiteY11" fmla="*/ 6550305 h 6858000"/>
              <a:gd name="connsiteX12" fmla="*/ 558811 w 4103688"/>
              <a:gd name="connsiteY12" fmla="*/ 6525738 h 6858000"/>
              <a:gd name="connsiteX13" fmla="*/ 343191 w 4103688"/>
              <a:gd name="connsiteY13" fmla="*/ 6525716 h 6858000"/>
              <a:gd name="connsiteX14" fmla="*/ 269875 w 4103688"/>
              <a:gd name="connsiteY14" fmla="*/ 6599460 h 6858000"/>
              <a:gd name="connsiteX15" fmla="*/ 343191 w 4103688"/>
              <a:gd name="connsiteY15" fmla="*/ 6673137 h 6858000"/>
              <a:gd name="connsiteX16" fmla="*/ 411345 w 4103688"/>
              <a:gd name="connsiteY16" fmla="*/ 6673137 h 6858000"/>
              <a:gd name="connsiteX17" fmla="*/ 411345 w 4103688"/>
              <a:gd name="connsiteY17" fmla="*/ 6611710 h 6858000"/>
              <a:gd name="connsiteX18" fmla="*/ 448201 w 4103688"/>
              <a:gd name="connsiteY18" fmla="*/ 6611710 h 6858000"/>
              <a:gd name="connsiteX19" fmla="*/ 448201 w 4103688"/>
              <a:gd name="connsiteY19" fmla="*/ 6673115 h 6858000"/>
              <a:gd name="connsiteX20" fmla="*/ 546511 w 4103688"/>
              <a:gd name="connsiteY20" fmla="*/ 6673115 h 6858000"/>
              <a:gd name="connsiteX21" fmla="*/ 558789 w 4103688"/>
              <a:gd name="connsiteY21" fmla="*/ 6648549 h 6858000"/>
              <a:gd name="connsiteX22" fmla="*/ 472778 w 4103688"/>
              <a:gd name="connsiteY22" fmla="*/ 6648549 h 6858000"/>
              <a:gd name="connsiteX23" fmla="*/ 472778 w 4103688"/>
              <a:gd name="connsiteY23" fmla="*/ 6611710 h 6858000"/>
              <a:gd name="connsiteX24" fmla="*/ 601663 w 4103688"/>
              <a:gd name="connsiteY24" fmla="*/ 6611710 h 6858000"/>
              <a:gd name="connsiteX25" fmla="*/ 571089 w 4103688"/>
              <a:gd name="connsiteY25" fmla="*/ 6673115 h 6858000"/>
              <a:gd name="connsiteX26" fmla="*/ 598412 w 4103688"/>
              <a:gd name="connsiteY26" fmla="*/ 6673115 h 6858000"/>
              <a:gd name="connsiteX27" fmla="*/ 629140 w 4103688"/>
              <a:gd name="connsiteY27" fmla="*/ 6611710 h 6858000"/>
              <a:gd name="connsiteX28" fmla="*/ 681678 w 4103688"/>
              <a:gd name="connsiteY28" fmla="*/ 6611710 h 6858000"/>
              <a:gd name="connsiteX29" fmla="*/ 669400 w 4103688"/>
              <a:gd name="connsiteY29" fmla="*/ 6587165 h 6858000"/>
              <a:gd name="connsiteX30" fmla="*/ 349890 w 4103688"/>
              <a:gd name="connsiteY30" fmla="*/ 6587143 h 6858000"/>
              <a:gd name="connsiteX31" fmla="*/ 337612 w 4103688"/>
              <a:gd name="connsiteY31" fmla="*/ 6611710 h 6858000"/>
              <a:gd name="connsiteX32" fmla="*/ 386767 w 4103688"/>
              <a:gd name="connsiteY32" fmla="*/ 6611710 h 6858000"/>
              <a:gd name="connsiteX33" fmla="*/ 386767 w 4103688"/>
              <a:gd name="connsiteY33" fmla="*/ 6648549 h 6858000"/>
              <a:gd name="connsiteX34" fmla="*/ 343191 w 4103688"/>
              <a:gd name="connsiteY34" fmla="*/ 6648549 h 6858000"/>
              <a:gd name="connsiteX35" fmla="*/ 294343 w 4103688"/>
              <a:gd name="connsiteY35" fmla="*/ 6599438 h 6858000"/>
              <a:gd name="connsiteX36" fmla="*/ 343191 w 4103688"/>
              <a:gd name="connsiteY36" fmla="*/ 6550305 h 6858000"/>
              <a:gd name="connsiteX37" fmla="*/ 399001 w 4103688"/>
              <a:gd name="connsiteY37" fmla="*/ 6550305 h 6858000"/>
              <a:gd name="connsiteX38" fmla="*/ 399001 w 4103688"/>
              <a:gd name="connsiteY38" fmla="*/ 6525716 h 6858000"/>
              <a:gd name="connsiteX39" fmla="*/ 0 w 4103688"/>
              <a:gd name="connsiteY39" fmla="*/ 0 h 6858000"/>
              <a:gd name="connsiteX40" fmla="*/ 4103688 w 4103688"/>
              <a:gd name="connsiteY40" fmla="*/ 0 h 6858000"/>
              <a:gd name="connsiteX41" fmla="*/ 4103688 w 4103688"/>
              <a:gd name="connsiteY41" fmla="*/ 6858000 h 6858000"/>
              <a:gd name="connsiteX42" fmla="*/ 0 w 4103688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103688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4103688" y="0"/>
                </a:lnTo>
                <a:lnTo>
                  <a:pt x="410368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9263" y="229880"/>
            <a:ext cx="7669212" cy="46166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Headline Inter Medium bold 30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F4BB13-4856-4ED9-9367-2041DC82D4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59263" y="683089"/>
            <a:ext cx="7669212" cy="307777"/>
          </a:xfrm>
        </p:spPr>
        <p:txBody>
          <a:bodyPr wrap="square">
            <a:spAutoFit/>
          </a:bodyPr>
          <a:lstStyle>
            <a:lvl1pPr marL="0" indent="0" rtl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line optional Inter Medium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F72E446-FFEE-4AD8-BB91-BBEF25159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9263" y="6076176"/>
            <a:ext cx="7669212" cy="276999"/>
          </a:xfrm>
        </p:spPr>
        <p:txBody>
          <a:bodyPr wrap="square" anchor="b">
            <a:spAutoFit/>
          </a:bodyPr>
          <a:lstStyle>
            <a:lvl1pPr marL="0" indent="0" rtl="0"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1 Footnote | 2 Footnote</a:t>
            </a:r>
          </a:p>
          <a:p>
            <a:pPr lvl="0"/>
            <a:r>
              <a:rPr lang="en-US"/>
              <a:t>Source: Here is the source 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5BC7344-3821-4FC6-A977-48636AE1A54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244FB837-7710-4FEE-BD1F-0EC31062B8D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C78657C-B6C7-42F5-A0C9-734F5AE0FF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26D4A1-D6CF-4C7C-ABDC-C599E88E620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259842" y="1449388"/>
            <a:ext cx="7668633" cy="4500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3978381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9">
          <p15:clr>
            <a:srgbClr val="FBAE40"/>
          </p15:clr>
        </p15:guide>
        <p15:guide id="4" pos="2683">
          <p15:clr>
            <a:srgbClr val="FBAE40"/>
          </p15:clr>
        </p15:guide>
        <p15:guide id="7" orient="horz" pos="3748">
          <p15:clr>
            <a:srgbClr val="FBAE40"/>
          </p15:clr>
        </p15:guide>
        <p15:guide id="8" orient="horz" pos="913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white - full pic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97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4D9559E-510B-4DDB-8770-39233643D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12000" y="4572000"/>
            <a:ext cx="4063998" cy="2286000"/>
          </a:xfrm>
          <a:solidFill>
            <a:schemeClr val="bg1"/>
          </a:solidFill>
        </p:spPr>
        <p:txBody>
          <a:bodyPr lIns="180000" tIns="108000" rIns="180000" bIns="72000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Key message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A4BAA6F-C015-46D0-8E54-95E2654FC0B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4F04FDA-4216-44B6-8607-894B6264215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2468A75-9618-4FC6-879B-B418A14C368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2217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white - full pic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153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4D9559E-510B-4DDB-8770-39233643D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12000" y="0"/>
            <a:ext cx="4063998" cy="3429000"/>
          </a:xfrm>
          <a:solidFill>
            <a:schemeClr val="bg1"/>
          </a:solidFill>
        </p:spPr>
        <p:txBody>
          <a:bodyPr lIns="180000" tIns="396000" rIns="180000" bIns="72000"/>
          <a:lstStyle>
            <a:lvl1pPr marL="0" indent="0" rtl="0">
              <a:spcBef>
                <a:spcPts val="0"/>
              </a:spcBef>
              <a:buNone/>
              <a:defRPr sz="3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Key message, </a:t>
            </a:r>
            <a:br>
              <a:rPr lang="en-US"/>
            </a:br>
            <a:r>
              <a:rPr lang="en-US"/>
              <a:t>Inter 30pt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A4BAA6F-C015-46D0-8E54-95E2654FC0B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4F04FDA-4216-44B6-8607-894B6264215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2468A75-9618-4FC6-879B-B418A14C368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999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white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600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 userDrawn="1"/>
        </p:nvGrpSpPr>
        <p:grpSpPr>
          <a:xfrm>
            <a:off x="270000" y="270000"/>
            <a:ext cx="1346400" cy="244836"/>
            <a:chOff x="270000" y="270000"/>
            <a:chExt cx="1346400" cy="244836"/>
          </a:xfrm>
          <a:solidFill>
            <a:schemeClr val="accent1"/>
          </a:solidFill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Titl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, </a:t>
            </a:r>
            <a:br>
              <a:rPr lang="en-US"/>
            </a:br>
            <a:r>
              <a:rPr lang="en-US"/>
              <a:t>Place, Date Inter 12pt</a:t>
            </a:r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C44E781B-3F9A-4BE7-97BD-4332B650C4C2}"/>
              </a:ext>
            </a:extLst>
          </p:cNvPr>
          <p:cNvSpPr/>
          <p:nvPr userDrawn="1"/>
        </p:nvSpPr>
        <p:spPr bwMode="invGray">
          <a:xfrm>
            <a:off x="4591254" y="-1"/>
            <a:ext cx="7602228" cy="6858001"/>
          </a:xfrm>
          <a:custGeom>
            <a:avLst/>
            <a:gdLst>
              <a:gd name="connsiteX0" fmla="*/ 3293816 w 7602228"/>
              <a:gd name="connsiteY0" fmla="*/ 4038523 h 6858001"/>
              <a:gd name="connsiteX1" fmla="*/ 4309498 w 7602228"/>
              <a:gd name="connsiteY1" fmla="*/ 4038523 h 6858001"/>
              <a:gd name="connsiteX2" fmla="*/ 4309498 w 7602228"/>
              <a:gd name="connsiteY2" fmla="*/ 6858001 h 6858001"/>
              <a:gd name="connsiteX3" fmla="*/ 3293816 w 7602228"/>
              <a:gd name="connsiteY3" fmla="*/ 6858001 h 6858001"/>
              <a:gd name="connsiteX4" fmla="*/ 1268071 w 7602228"/>
              <a:gd name="connsiteY4" fmla="*/ 3540455 h 6858001"/>
              <a:gd name="connsiteX5" fmla="*/ 2395990 w 7602228"/>
              <a:gd name="connsiteY5" fmla="*/ 3540455 h 6858001"/>
              <a:gd name="connsiteX6" fmla="*/ 1128430 w 7602228"/>
              <a:gd name="connsiteY6" fmla="*/ 6074552 h 6858001"/>
              <a:gd name="connsiteX7" fmla="*/ 0 w 7602228"/>
              <a:gd name="connsiteY7" fmla="*/ 6074552 h 6858001"/>
              <a:gd name="connsiteX8" fmla="*/ 3037787 w 7602228"/>
              <a:gd name="connsiteY8" fmla="*/ 0 h 6858001"/>
              <a:gd name="connsiteX9" fmla="*/ 4565464 w 7602228"/>
              <a:gd name="connsiteY9" fmla="*/ 0 h 6858001"/>
              <a:gd name="connsiteX10" fmla="*/ 7602228 w 7602228"/>
              <a:gd name="connsiteY10" fmla="*/ 6076086 h 6858001"/>
              <a:gd name="connsiteX11" fmla="*/ 6474309 w 7602228"/>
              <a:gd name="connsiteY11" fmla="*/ 6076086 h 6858001"/>
              <a:gd name="connsiteX12" fmla="*/ 3801657 w 7602228"/>
              <a:gd name="connsiteY12" fmla="*/ 730206 h 6858001"/>
              <a:gd name="connsiteX13" fmla="*/ 3154686 w 7602228"/>
              <a:gd name="connsiteY13" fmla="*/ 2023126 h 6858001"/>
              <a:gd name="connsiteX14" fmla="*/ 2026256 w 7602228"/>
              <a:gd name="connsiteY14" fmla="*/ 202312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602228" h="6858001">
                <a:moveTo>
                  <a:pt x="3293816" y="4038523"/>
                </a:moveTo>
                <a:lnTo>
                  <a:pt x="4309498" y="4038523"/>
                </a:lnTo>
                <a:lnTo>
                  <a:pt x="4309498" y="6858001"/>
                </a:lnTo>
                <a:lnTo>
                  <a:pt x="3293816" y="6858001"/>
                </a:lnTo>
                <a:close/>
                <a:moveTo>
                  <a:pt x="1268071" y="3540455"/>
                </a:moveTo>
                <a:lnTo>
                  <a:pt x="2395990" y="3540455"/>
                </a:lnTo>
                <a:lnTo>
                  <a:pt x="1128430" y="6074552"/>
                </a:lnTo>
                <a:lnTo>
                  <a:pt x="0" y="6074552"/>
                </a:lnTo>
                <a:close/>
                <a:moveTo>
                  <a:pt x="3037787" y="0"/>
                </a:moveTo>
                <a:lnTo>
                  <a:pt x="4565464" y="0"/>
                </a:lnTo>
                <a:lnTo>
                  <a:pt x="7602228" y="6076086"/>
                </a:lnTo>
                <a:lnTo>
                  <a:pt x="6474309" y="6076086"/>
                </a:lnTo>
                <a:lnTo>
                  <a:pt x="3801657" y="730206"/>
                </a:lnTo>
                <a:lnTo>
                  <a:pt x="3154686" y="2023126"/>
                </a:lnTo>
                <a:lnTo>
                  <a:pt x="2026256" y="202312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8933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blue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746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4D9559E-510B-4DDB-8770-39233643D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12000" y="3429000"/>
            <a:ext cx="4063998" cy="3428999"/>
          </a:xfrm>
          <a:solidFill>
            <a:schemeClr val="tx2"/>
          </a:solidFill>
        </p:spPr>
        <p:txBody>
          <a:bodyPr lIns="180000" tIns="108000" rIns="180000" bIns="72000"/>
          <a:lstStyle>
            <a:lvl1pPr marL="0" indent="0" rtl="0">
              <a:spcBef>
                <a:spcPts val="0"/>
              </a:spcBef>
              <a:buNone/>
              <a:defRPr sz="3000">
                <a:solidFill>
                  <a:schemeClr val="bg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Key message, </a:t>
            </a:r>
            <a:br>
              <a:rPr lang="en-US"/>
            </a:br>
            <a:r>
              <a:rPr lang="en-US"/>
              <a:t>Inter 30pt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A4BAA6F-C015-46D0-8E54-95E2654FC0B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4F04FDA-4216-44B6-8607-894B6264215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2468A75-9618-4FC6-879B-B418A14C368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454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white - full picture &amp; 6 boxe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8691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Bildplatzhalter 49">
            <a:extLst>
              <a:ext uri="{FF2B5EF4-FFF2-40B4-BE49-F238E27FC236}">
                <a16:creationId xmlns:a16="http://schemas.microsoft.com/office/drawing/2014/main" id="{B38D6861-D900-46A8-B7EC-2D6AE501F62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644822 w 12192000"/>
              <a:gd name="connsiteY0" fmla="*/ 6525737 h 6858000"/>
              <a:gd name="connsiteX1" fmla="*/ 620244 w 12192000"/>
              <a:gd name="connsiteY1" fmla="*/ 6574870 h 6858000"/>
              <a:gd name="connsiteX2" fmla="*/ 647589 w 12192000"/>
              <a:gd name="connsiteY2" fmla="*/ 6574870 h 6858000"/>
              <a:gd name="connsiteX3" fmla="*/ 663359 w 12192000"/>
              <a:gd name="connsiteY3" fmla="*/ 6543410 h 6858000"/>
              <a:gd name="connsiteX4" fmla="*/ 728153 w 12192000"/>
              <a:gd name="connsiteY4" fmla="*/ 6673136 h 6858000"/>
              <a:gd name="connsiteX5" fmla="*/ 755498 w 12192000"/>
              <a:gd name="connsiteY5" fmla="*/ 6673136 h 6858000"/>
              <a:gd name="connsiteX6" fmla="*/ 681699 w 12192000"/>
              <a:gd name="connsiteY6" fmla="*/ 6525737 h 6858000"/>
              <a:gd name="connsiteX7" fmla="*/ 448200 w 12192000"/>
              <a:gd name="connsiteY7" fmla="*/ 6525716 h 6858000"/>
              <a:gd name="connsiteX8" fmla="*/ 448200 w 12192000"/>
              <a:gd name="connsiteY8" fmla="*/ 6574871 h 6858000"/>
              <a:gd name="connsiteX9" fmla="*/ 472778 w 12192000"/>
              <a:gd name="connsiteY9" fmla="*/ 6574871 h 6858000"/>
              <a:gd name="connsiteX10" fmla="*/ 472778 w 12192000"/>
              <a:gd name="connsiteY10" fmla="*/ 6550305 h 6858000"/>
              <a:gd name="connsiteX11" fmla="*/ 558811 w 12192000"/>
              <a:gd name="connsiteY11" fmla="*/ 6550305 h 6858000"/>
              <a:gd name="connsiteX12" fmla="*/ 558811 w 12192000"/>
              <a:gd name="connsiteY12" fmla="*/ 6525738 h 6858000"/>
              <a:gd name="connsiteX13" fmla="*/ 343191 w 12192000"/>
              <a:gd name="connsiteY13" fmla="*/ 6525716 h 6858000"/>
              <a:gd name="connsiteX14" fmla="*/ 269875 w 12192000"/>
              <a:gd name="connsiteY14" fmla="*/ 6599460 h 6858000"/>
              <a:gd name="connsiteX15" fmla="*/ 343191 w 12192000"/>
              <a:gd name="connsiteY15" fmla="*/ 6673137 h 6858000"/>
              <a:gd name="connsiteX16" fmla="*/ 411345 w 12192000"/>
              <a:gd name="connsiteY16" fmla="*/ 6673137 h 6858000"/>
              <a:gd name="connsiteX17" fmla="*/ 411345 w 12192000"/>
              <a:gd name="connsiteY17" fmla="*/ 6611710 h 6858000"/>
              <a:gd name="connsiteX18" fmla="*/ 448201 w 12192000"/>
              <a:gd name="connsiteY18" fmla="*/ 6611710 h 6858000"/>
              <a:gd name="connsiteX19" fmla="*/ 448201 w 12192000"/>
              <a:gd name="connsiteY19" fmla="*/ 6673115 h 6858000"/>
              <a:gd name="connsiteX20" fmla="*/ 546511 w 12192000"/>
              <a:gd name="connsiteY20" fmla="*/ 6673115 h 6858000"/>
              <a:gd name="connsiteX21" fmla="*/ 558789 w 12192000"/>
              <a:gd name="connsiteY21" fmla="*/ 6648549 h 6858000"/>
              <a:gd name="connsiteX22" fmla="*/ 472778 w 12192000"/>
              <a:gd name="connsiteY22" fmla="*/ 6648549 h 6858000"/>
              <a:gd name="connsiteX23" fmla="*/ 472778 w 12192000"/>
              <a:gd name="connsiteY23" fmla="*/ 6611710 h 6858000"/>
              <a:gd name="connsiteX24" fmla="*/ 601663 w 12192000"/>
              <a:gd name="connsiteY24" fmla="*/ 6611710 h 6858000"/>
              <a:gd name="connsiteX25" fmla="*/ 571089 w 12192000"/>
              <a:gd name="connsiteY25" fmla="*/ 6673115 h 6858000"/>
              <a:gd name="connsiteX26" fmla="*/ 598412 w 12192000"/>
              <a:gd name="connsiteY26" fmla="*/ 6673115 h 6858000"/>
              <a:gd name="connsiteX27" fmla="*/ 629140 w 12192000"/>
              <a:gd name="connsiteY27" fmla="*/ 6611710 h 6858000"/>
              <a:gd name="connsiteX28" fmla="*/ 681678 w 12192000"/>
              <a:gd name="connsiteY28" fmla="*/ 6611710 h 6858000"/>
              <a:gd name="connsiteX29" fmla="*/ 669400 w 12192000"/>
              <a:gd name="connsiteY29" fmla="*/ 6587165 h 6858000"/>
              <a:gd name="connsiteX30" fmla="*/ 349890 w 12192000"/>
              <a:gd name="connsiteY30" fmla="*/ 6587143 h 6858000"/>
              <a:gd name="connsiteX31" fmla="*/ 337612 w 12192000"/>
              <a:gd name="connsiteY31" fmla="*/ 6611710 h 6858000"/>
              <a:gd name="connsiteX32" fmla="*/ 386767 w 12192000"/>
              <a:gd name="connsiteY32" fmla="*/ 6611710 h 6858000"/>
              <a:gd name="connsiteX33" fmla="*/ 386767 w 12192000"/>
              <a:gd name="connsiteY33" fmla="*/ 6648549 h 6858000"/>
              <a:gd name="connsiteX34" fmla="*/ 343191 w 12192000"/>
              <a:gd name="connsiteY34" fmla="*/ 6648549 h 6858000"/>
              <a:gd name="connsiteX35" fmla="*/ 294343 w 12192000"/>
              <a:gd name="connsiteY35" fmla="*/ 6599438 h 6858000"/>
              <a:gd name="connsiteX36" fmla="*/ 343191 w 12192000"/>
              <a:gd name="connsiteY36" fmla="*/ 6550305 h 6858000"/>
              <a:gd name="connsiteX37" fmla="*/ 399001 w 12192000"/>
              <a:gd name="connsiteY37" fmla="*/ 6550305 h 6858000"/>
              <a:gd name="connsiteX38" fmla="*/ 399001 w 12192000"/>
              <a:gd name="connsiteY38" fmla="*/ 6525716 h 6858000"/>
              <a:gd name="connsiteX39" fmla="*/ 0 w 12192000"/>
              <a:gd name="connsiteY39" fmla="*/ 0 h 6858000"/>
              <a:gd name="connsiteX40" fmla="*/ 12192000 w 12192000"/>
              <a:gd name="connsiteY40" fmla="*/ 0 h 6858000"/>
              <a:gd name="connsiteX41" fmla="*/ 12192000 w 12192000"/>
              <a:gd name="connsiteY41" fmla="*/ 6858000 h 6858000"/>
              <a:gd name="connsiteX42" fmla="*/ 0 w 12192000"/>
              <a:gd name="connsiteY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644822" y="6525737"/>
                </a:moveTo>
                <a:lnTo>
                  <a:pt x="620244" y="6574870"/>
                </a:lnTo>
                <a:lnTo>
                  <a:pt x="647589" y="6574870"/>
                </a:lnTo>
                <a:lnTo>
                  <a:pt x="663359" y="6543410"/>
                </a:lnTo>
                <a:lnTo>
                  <a:pt x="728153" y="6673136"/>
                </a:lnTo>
                <a:lnTo>
                  <a:pt x="755498" y="6673136"/>
                </a:lnTo>
                <a:lnTo>
                  <a:pt x="681699" y="6525737"/>
                </a:lnTo>
                <a:close/>
                <a:moveTo>
                  <a:pt x="448200" y="6525716"/>
                </a:moveTo>
                <a:lnTo>
                  <a:pt x="448200" y="6574871"/>
                </a:lnTo>
                <a:lnTo>
                  <a:pt x="472778" y="6574871"/>
                </a:lnTo>
                <a:lnTo>
                  <a:pt x="472778" y="6550305"/>
                </a:lnTo>
                <a:lnTo>
                  <a:pt x="558811" y="6550305"/>
                </a:lnTo>
                <a:lnTo>
                  <a:pt x="558811" y="6525738"/>
                </a:lnTo>
                <a:close/>
                <a:moveTo>
                  <a:pt x="343191" y="6525716"/>
                </a:moveTo>
                <a:cubicBezTo>
                  <a:pt x="302777" y="6525716"/>
                  <a:pt x="269875" y="6558801"/>
                  <a:pt x="269875" y="6599460"/>
                </a:cubicBezTo>
                <a:cubicBezTo>
                  <a:pt x="269875" y="6640096"/>
                  <a:pt x="302777" y="6673137"/>
                  <a:pt x="343191" y="6673137"/>
                </a:cubicBezTo>
                <a:lnTo>
                  <a:pt x="411345" y="6673137"/>
                </a:lnTo>
                <a:lnTo>
                  <a:pt x="411345" y="6611710"/>
                </a:lnTo>
                <a:lnTo>
                  <a:pt x="448201" y="6611710"/>
                </a:lnTo>
                <a:lnTo>
                  <a:pt x="448201" y="6673115"/>
                </a:lnTo>
                <a:lnTo>
                  <a:pt x="546511" y="6673115"/>
                </a:lnTo>
                <a:lnTo>
                  <a:pt x="558789" y="6648549"/>
                </a:lnTo>
                <a:lnTo>
                  <a:pt x="472778" y="6648549"/>
                </a:lnTo>
                <a:lnTo>
                  <a:pt x="472778" y="6611710"/>
                </a:lnTo>
                <a:lnTo>
                  <a:pt x="601663" y="6611710"/>
                </a:lnTo>
                <a:lnTo>
                  <a:pt x="571089" y="6673115"/>
                </a:lnTo>
                <a:lnTo>
                  <a:pt x="598412" y="6673115"/>
                </a:lnTo>
                <a:lnTo>
                  <a:pt x="629140" y="6611710"/>
                </a:lnTo>
                <a:lnTo>
                  <a:pt x="681678" y="6611710"/>
                </a:lnTo>
                <a:lnTo>
                  <a:pt x="669400" y="6587165"/>
                </a:lnTo>
                <a:lnTo>
                  <a:pt x="349890" y="6587143"/>
                </a:lnTo>
                <a:lnTo>
                  <a:pt x="337612" y="6611710"/>
                </a:lnTo>
                <a:lnTo>
                  <a:pt x="386767" y="6611710"/>
                </a:lnTo>
                <a:lnTo>
                  <a:pt x="386767" y="6648549"/>
                </a:lnTo>
                <a:lnTo>
                  <a:pt x="343191" y="6648549"/>
                </a:lnTo>
                <a:cubicBezTo>
                  <a:pt x="316263" y="6648549"/>
                  <a:pt x="294343" y="6626617"/>
                  <a:pt x="294343" y="6599438"/>
                </a:cubicBezTo>
                <a:cubicBezTo>
                  <a:pt x="294343" y="6572259"/>
                  <a:pt x="316263" y="6550305"/>
                  <a:pt x="343191" y="6550305"/>
                </a:cubicBezTo>
                <a:lnTo>
                  <a:pt x="399001" y="6550305"/>
                </a:lnTo>
                <a:lnTo>
                  <a:pt x="399001" y="652571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4D9559E-510B-4DDB-8770-39233643D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7597" y="11430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cus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FC39CA-AAF4-4A62-AFEB-B29DAD367B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78853" y="11430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ocus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188615B-9C91-4199-B609-15D85C99660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44000" y="11430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ocus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E151CCA-BDEA-4728-997C-454B41E37D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07597" y="40005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0" indent="0">
              <a:buNone/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ocus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26E0D2A1-47C3-4004-BF20-803FEAD69B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78853" y="40005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0" indent="0">
              <a:buNone/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ocus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03BE4DC-070F-49A9-A446-C60D47848A0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44000" y="4000500"/>
            <a:ext cx="2032000" cy="1714500"/>
          </a:xfrm>
          <a:solidFill>
            <a:schemeClr val="bg1"/>
          </a:solidFill>
        </p:spPr>
        <p:txBody>
          <a:bodyPr lIns="144000" tIns="108000" rIns="144000" bIns="108000" anchor="b"/>
          <a:lstStyle>
            <a:lvl1pPr marL="0" indent="0" rtl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  <a:lvl4pPr>
              <a:defRPr sz="2000">
                <a:solidFill>
                  <a:schemeClr val="accent1"/>
                </a:solidFill>
              </a:defRPr>
            </a:lvl4pPr>
            <a:lvl5pPr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ocus, </a:t>
            </a:r>
            <a:br>
              <a:rPr lang="en-US"/>
            </a:br>
            <a:r>
              <a:rPr lang="en-US"/>
              <a:t>Inter 20pt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A4BAA6F-C015-46D0-8E54-95E2654FC0B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4F04FDA-4216-44B6-8607-894B6264215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2468A75-9618-4FC6-879B-B418A14C368E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8513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3623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Textplatzhalter 92">
            <a:extLst>
              <a:ext uri="{FF2B5EF4-FFF2-40B4-BE49-F238E27FC236}">
                <a16:creationId xmlns:a16="http://schemas.microsoft.com/office/drawing/2014/main" id="{2137BC8D-CBBB-4D34-889C-8A187B67F1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000" y="2683662"/>
            <a:ext cx="11664950" cy="719428"/>
          </a:xfrm>
        </p:spPr>
        <p:txBody>
          <a:bodyPr wrap="square">
            <a:spAutoFit/>
          </a:bodyPr>
          <a:lstStyle>
            <a:lvl1pPr marL="0" indent="0" rtl="0">
              <a:lnSpc>
                <a:spcPct val="85000"/>
              </a:lnSpc>
              <a:buNone/>
              <a:defRPr sz="5500" cap="all" baseline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  <a:lvl2pPr marL="0" indent="0" rtl="0">
              <a:spcBef>
                <a:spcPts val="24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THANK YOU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0420212-1783-4F49-BBB4-7B752FC9625A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54E5D081-85F9-47B3-90E4-819F7E5F1DA3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03F8A4CF-6CDA-49A9-91E1-DAA4F631E00A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704E87B5-8EBF-46B9-BF57-0E348A2E850D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411C6F4-4A8E-4A90-9AF2-882241B4FFF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CAFB210-046F-423B-85DC-6A56724C18F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3AF5274-F30F-418E-9F88-CB80224F33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92690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5213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Textplatzhalter 92">
            <a:extLst>
              <a:ext uri="{FF2B5EF4-FFF2-40B4-BE49-F238E27FC236}">
                <a16:creationId xmlns:a16="http://schemas.microsoft.com/office/drawing/2014/main" id="{2137BC8D-CBBB-4D34-889C-8A187B67F1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000" y="2683662"/>
            <a:ext cx="11664950" cy="719428"/>
          </a:xfrm>
        </p:spPr>
        <p:txBody>
          <a:bodyPr wrap="square">
            <a:spAutoFit/>
          </a:bodyPr>
          <a:lstStyle>
            <a:lvl1pPr marL="0" indent="0" rtl="0">
              <a:lnSpc>
                <a:spcPct val="85000"/>
              </a:lnSpc>
              <a:buNone/>
              <a:defRPr sz="5500" cap="all" baseline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  <a:lvl2pPr marL="0" indent="0" rtl="0">
              <a:spcBef>
                <a:spcPts val="2400"/>
              </a:spcBef>
              <a:buNone/>
              <a:defRPr sz="16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411C6F4-4A8E-4A90-9AF2-882241B4FFF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CAFB210-046F-423B-85DC-6A56724C18F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3AF5274-F30F-418E-9F88-CB80224F33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327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7845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738F76F-C2DB-4B34-9BAC-06F432009917}"/>
              </a:ext>
            </a:extLst>
          </p:cNvPr>
          <p:cNvGrpSpPr/>
          <p:nvPr userDrawn="1"/>
        </p:nvGrpSpPr>
        <p:grpSpPr bwMode="black">
          <a:xfrm>
            <a:off x="3017104" y="2869119"/>
            <a:ext cx="6157792" cy="1119761"/>
            <a:chOff x="3017104" y="2869119"/>
            <a:chExt cx="6157792" cy="1119761"/>
          </a:xfrm>
          <a:solidFill>
            <a:schemeClr val="bg1"/>
          </a:solidFill>
        </p:grpSpPr>
        <p:sp>
          <p:nvSpPr>
            <p:cNvPr id="48" name="Freihandform 148">
              <a:extLst>
                <a:ext uri="{FF2B5EF4-FFF2-40B4-BE49-F238E27FC236}">
                  <a16:creationId xmlns:a16="http://schemas.microsoft.com/office/drawing/2014/main" id="{60AD947E-5C1C-4CAA-8DB7-0110EF336C27}"/>
                </a:ext>
              </a:extLst>
            </p:cNvPr>
            <p:cNvSpPr/>
            <p:nvPr/>
          </p:nvSpPr>
          <p:spPr bwMode="black">
            <a:xfrm>
              <a:off x="5655868" y="2880585"/>
              <a:ext cx="1018566" cy="1103885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9" name="Freihandform 149">
              <a:extLst>
                <a:ext uri="{FF2B5EF4-FFF2-40B4-BE49-F238E27FC236}">
                  <a16:creationId xmlns:a16="http://schemas.microsoft.com/office/drawing/2014/main" id="{337F32C1-0D17-450E-9DFE-1F6C9CBE7504}"/>
                </a:ext>
              </a:extLst>
            </p:cNvPr>
            <p:cNvSpPr/>
            <p:nvPr/>
          </p:nvSpPr>
          <p:spPr bwMode="black">
            <a:xfrm>
              <a:off x="3017104" y="2880458"/>
              <a:ext cx="3101461" cy="1104011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0" name="Freihandform 150">
              <a:extLst>
                <a:ext uri="{FF2B5EF4-FFF2-40B4-BE49-F238E27FC236}">
                  <a16:creationId xmlns:a16="http://schemas.microsoft.com/office/drawing/2014/main" id="{C471FC87-338A-4010-A01B-39CFCC799040}"/>
                </a:ext>
              </a:extLst>
            </p:cNvPr>
            <p:cNvSpPr/>
            <p:nvPr/>
          </p:nvSpPr>
          <p:spPr bwMode="black">
            <a:xfrm>
              <a:off x="4360064" y="2880458"/>
              <a:ext cx="833107" cy="368172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5" name="Freihandform 152">
              <a:extLst>
                <a:ext uri="{FF2B5EF4-FFF2-40B4-BE49-F238E27FC236}">
                  <a16:creationId xmlns:a16="http://schemas.microsoft.com/office/drawing/2014/main" id="{98D45670-329C-4FE0-BBE8-C5276C544C5B}"/>
                </a:ext>
              </a:extLst>
            </p:cNvPr>
            <p:cNvSpPr/>
            <p:nvPr/>
          </p:nvSpPr>
          <p:spPr bwMode="black">
            <a:xfrm>
              <a:off x="6951799" y="2880711"/>
              <a:ext cx="184951" cy="290429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6" name="Freihandform 153">
              <a:extLst>
                <a:ext uri="{FF2B5EF4-FFF2-40B4-BE49-F238E27FC236}">
                  <a16:creationId xmlns:a16="http://schemas.microsoft.com/office/drawing/2014/main" id="{1345E2B1-7126-4AC8-B029-DD6F2C0B21A6}"/>
                </a:ext>
              </a:extLst>
            </p:cNvPr>
            <p:cNvSpPr/>
            <p:nvPr/>
          </p:nvSpPr>
          <p:spPr bwMode="black">
            <a:xfrm>
              <a:off x="7191007" y="2950388"/>
              <a:ext cx="182670" cy="220625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7" name="Freihandform 154">
              <a:extLst>
                <a:ext uri="{FF2B5EF4-FFF2-40B4-BE49-F238E27FC236}">
                  <a16:creationId xmlns:a16="http://schemas.microsoft.com/office/drawing/2014/main" id="{8538C58C-0D1A-4DA6-A397-057C88D40376}"/>
                </a:ext>
              </a:extLst>
            </p:cNvPr>
            <p:cNvSpPr/>
            <p:nvPr/>
          </p:nvSpPr>
          <p:spPr bwMode="black">
            <a:xfrm>
              <a:off x="7420960" y="2950515"/>
              <a:ext cx="200417" cy="306306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8" name="Freihandform 155">
              <a:extLst>
                <a:ext uri="{FF2B5EF4-FFF2-40B4-BE49-F238E27FC236}">
                  <a16:creationId xmlns:a16="http://schemas.microsoft.com/office/drawing/2014/main" id="{56E2C3D6-F678-4557-A72E-6ABB5A4298CC}"/>
                </a:ext>
              </a:extLst>
            </p:cNvPr>
            <p:cNvSpPr/>
            <p:nvPr/>
          </p:nvSpPr>
          <p:spPr bwMode="black">
            <a:xfrm>
              <a:off x="7673098" y="2869119"/>
              <a:ext cx="53748" cy="50651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9" name="Freihandform 156">
              <a:extLst>
                <a:ext uri="{FF2B5EF4-FFF2-40B4-BE49-F238E27FC236}">
                  <a16:creationId xmlns:a16="http://schemas.microsoft.com/office/drawing/2014/main" id="{554651DE-15E5-4AD8-8E1B-1EFA8D9DF86D}"/>
                </a:ext>
              </a:extLst>
            </p:cNvPr>
            <p:cNvSpPr/>
            <p:nvPr/>
          </p:nvSpPr>
          <p:spPr bwMode="black">
            <a:xfrm>
              <a:off x="7678422" y="2953287"/>
              <a:ext cx="42720" cy="217728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0" name="Freihandform 157">
              <a:extLst>
                <a:ext uri="{FF2B5EF4-FFF2-40B4-BE49-F238E27FC236}">
                  <a16:creationId xmlns:a16="http://schemas.microsoft.com/office/drawing/2014/main" id="{760EB6CE-44D7-4F96-B7BA-F5F919E266C2}"/>
                </a:ext>
              </a:extLst>
            </p:cNvPr>
            <p:cNvSpPr/>
            <p:nvPr/>
          </p:nvSpPr>
          <p:spPr bwMode="black">
            <a:xfrm>
              <a:off x="7778821" y="2950388"/>
              <a:ext cx="182670" cy="220625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1" name="Freihandform 158">
              <a:extLst>
                <a:ext uri="{FF2B5EF4-FFF2-40B4-BE49-F238E27FC236}">
                  <a16:creationId xmlns:a16="http://schemas.microsoft.com/office/drawing/2014/main" id="{B4174193-0108-4B73-BAFC-61C16F9E450F}"/>
                </a:ext>
              </a:extLst>
            </p:cNvPr>
            <p:cNvSpPr/>
            <p:nvPr/>
          </p:nvSpPr>
          <p:spPr bwMode="black">
            <a:xfrm>
              <a:off x="8008648" y="2950767"/>
              <a:ext cx="198262" cy="224783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2" name="Freihandform 159">
              <a:extLst>
                <a:ext uri="{FF2B5EF4-FFF2-40B4-BE49-F238E27FC236}">
                  <a16:creationId xmlns:a16="http://schemas.microsoft.com/office/drawing/2014/main" id="{E8F529A8-7A94-477E-B9A0-D23388625A03}"/>
                </a:ext>
              </a:extLst>
            </p:cNvPr>
            <p:cNvSpPr/>
            <p:nvPr/>
          </p:nvSpPr>
          <p:spPr bwMode="black">
            <a:xfrm>
              <a:off x="8244433" y="2950767"/>
              <a:ext cx="198262" cy="224783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3" name="Freihandform 160">
              <a:extLst>
                <a:ext uri="{FF2B5EF4-FFF2-40B4-BE49-F238E27FC236}">
                  <a16:creationId xmlns:a16="http://schemas.microsoft.com/office/drawing/2014/main" id="{37DEB0C4-0DEB-4FA9-814C-297B72F4A45F}"/>
                </a:ext>
              </a:extLst>
            </p:cNvPr>
            <p:cNvSpPr/>
            <p:nvPr/>
          </p:nvSpPr>
          <p:spPr bwMode="black">
            <a:xfrm>
              <a:off x="8490233" y="2950011"/>
              <a:ext cx="117258" cy="221003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4" name="Freihandform 161">
              <a:extLst>
                <a:ext uri="{FF2B5EF4-FFF2-40B4-BE49-F238E27FC236}">
                  <a16:creationId xmlns:a16="http://schemas.microsoft.com/office/drawing/2014/main" id="{E3BA12B5-1681-4B1D-9850-AF697DA22768}"/>
                </a:ext>
              </a:extLst>
            </p:cNvPr>
            <p:cNvSpPr/>
            <p:nvPr/>
          </p:nvSpPr>
          <p:spPr bwMode="black">
            <a:xfrm>
              <a:off x="8644507" y="2953287"/>
              <a:ext cx="42720" cy="217728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5" name="Freihandform 162">
              <a:extLst>
                <a:ext uri="{FF2B5EF4-FFF2-40B4-BE49-F238E27FC236}">
                  <a16:creationId xmlns:a16="http://schemas.microsoft.com/office/drawing/2014/main" id="{6536A9F0-A332-4FB0-AD9A-F8B9C214A3F2}"/>
                </a:ext>
              </a:extLst>
            </p:cNvPr>
            <p:cNvSpPr/>
            <p:nvPr/>
          </p:nvSpPr>
          <p:spPr bwMode="black">
            <a:xfrm>
              <a:off x="8639183" y="2869119"/>
              <a:ext cx="53748" cy="50651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6" name="Freihandform 163">
              <a:extLst>
                <a:ext uri="{FF2B5EF4-FFF2-40B4-BE49-F238E27FC236}">
                  <a16:creationId xmlns:a16="http://schemas.microsoft.com/office/drawing/2014/main" id="{6E7DCB97-14CF-407F-9898-7C35F8166552}"/>
                </a:ext>
              </a:extLst>
            </p:cNvPr>
            <p:cNvSpPr/>
            <p:nvPr/>
          </p:nvSpPr>
          <p:spPr bwMode="black">
            <a:xfrm>
              <a:off x="8744779" y="2950388"/>
              <a:ext cx="182670" cy="220751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7" name="Freihandform 164">
              <a:extLst>
                <a:ext uri="{FF2B5EF4-FFF2-40B4-BE49-F238E27FC236}">
                  <a16:creationId xmlns:a16="http://schemas.microsoft.com/office/drawing/2014/main" id="{4FABCAA5-925D-413F-9B91-393E926D8937}"/>
                </a:ext>
              </a:extLst>
            </p:cNvPr>
            <p:cNvSpPr/>
            <p:nvPr/>
          </p:nvSpPr>
          <p:spPr bwMode="black">
            <a:xfrm>
              <a:off x="8974733" y="2950515"/>
              <a:ext cx="200163" cy="306306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8" name="Freihandform 165">
              <a:extLst>
                <a:ext uri="{FF2B5EF4-FFF2-40B4-BE49-F238E27FC236}">
                  <a16:creationId xmlns:a16="http://schemas.microsoft.com/office/drawing/2014/main" id="{457D4293-93FB-4E03-9F0D-20D508009406}"/>
                </a:ext>
              </a:extLst>
            </p:cNvPr>
            <p:cNvSpPr/>
            <p:nvPr/>
          </p:nvSpPr>
          <p:spPr bwMode="black">
            <a:xfrm>
              <a:off x="6928854" y="3273830"/>
              <a:ext cx="134499" cy="30403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9" name="Freihandform 166">
              <a:extLst>
                <a:ext uri="{FF2B5EF4-FFF2-40B4-BE49-F238E27FC236}">
                  <a16:creationId xmlns:a16="http://schemas.microsoft.com/office/drawing/2014/main" id="{8279655D-862F-44B8-9F2D-7E3F938A2BD7}"/>
                </a:ext>
              </a:extLst>
            </p:cNvPr>
            <p:cNvSpPr/>
            <p:nvPr/>
          </p:nvSpPr>
          <p:spPr bwMode="black">
            <a:xfrm>
              <a:off x="7083762" y="3357243"/>
              <a:ext cx="204093" cy="224909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0" name="Freihandform 167">
              <a:extLst>
                <a:ext uri="{FF2B5EF4-FFF2-40B4-BE49-F238E27FC236}">
                  <a16:creationId xmlns:a16="http://schemas.microsoft.com/office/drawing/2014/main" id="{23055635-2B90-4635-86D1-B3E930110EBA}"/>
                </a:ext>
              </a:extLst>
            </p:cNvPr>
            <p:cNvSpPr/>
            <p:nvPr/>
          </p:nvSpPr>
          <p:spPr bwMode="black">
            <a:xfrm>
              <a:off x="7332097" y="3356739"/>
              <a:ext cx="117258" cy="221004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1" name="Freihandform 168">
              <a:extLst>
                <a:ext uri="{FF2B5EF4-FFF2-40B4-BE49-F238E27FC236}">
                  <a16:creationId xmlns:a16="http://schemas.microsoft.com/office/drawing/2014/main" id="{7CD89335-1D2A-43FB-8FCC-3E6DDEA0D260}"/>
                </a:ext>
              </a:extLst>
            </p:cNvPr>
            <p:cNvSpPr/>
            <p:nvPr/>
          </p:nvSpPr>
          <p:spPr bwMode="black">
            <a:xfrm>
              <a:off x="7576249" y="3357243"/>
              <a:ext cx="182289" cy="225539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2" name="Freihandform 169">
              <a:extLst>
                <a:ext uri="{FF2B5EF4-FFF2-40B4-BE49-F238E27FC236}">
                  <a16:creationId xmlns:a16="http://schemas.microsoft.com/office/drawing/2014/main" id="{4E94D460-9BED-49DA-81EE-4942BCA9B41F}"/>
                </a:ext>
              </a:extLst>
            </p:cNvPr>
            <p:cNvSpPr/>
            <p:nvPr/>
          </p:nvSpPr>
          <p:spPr bwMode="black">
            <a:xfrm>
              <a:off x="7918517" y="3287439"/>
              <a:ext cx="200163" cy="294588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3" name="Freihandform 170">
              <a:extLst>
                <a:ext uri="{FF2B5EF4-FFF2-40B4-BE49-F238E27FC236}">
                  <a16:creationId xmlns:a16="http://schemas.microsoft.com/office/drawing/2014/main" id="{B609A7E8-1FF0-4B3D-B11B-CDC0ADFFFD54}"/>
                </a:ext>
              </a:extLst>
            </p:cNvPr>
            <p:cNvSpPr/>
            <p:nvPr/>
          </p:nvSpPr>
          <p:spPr bwMode="black">
            <a:xfrm>
              <a:off x="8153289" y="3357243"/>
              <a:ext cx="198388" cy="225035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4" name="Freihandform 171">
              <a:extLst>
                <a:ext uri="{FF2B5EF4-FFF2-40B4-BE49-F238E27FC236}">
                  <a16:creationId xmlns:a16="http://schemas.microsoft.com/office/drawing/2014/main" id="{28E26E24-ADE6-4323-8A1C-D69B91396027}"/>
                </a:ext>
              </a:extLst>
            </p:cNvPr>
            <p:cNvSpPr/>
            <p:nvPr/>
          </p:nvSpPr>
          <p:spPr bwMode="black">
            <a:xfrm>
              <a:off x="8378425" y="3307977"/>
              <a:ext cx="123723" cy="27281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5" name="Freihandform 172">
              <a:extLst>
                <a:ext uri="{FF2B5EF4-FFF2-40B4-BE49-F238E27FC236}">
                  <a16:creationId xmlns:a16="http://schemas.microsoft.com/office/drawing/2014/main" id="{CB951ACA-365B-41E0-A644-319935FAD00F}"/>
                </a:ext>
              </a:extLst>
            </p:cNvPr>
            <p:cNvSpPr/>
            <p:nvPr/>
          </p:nvSpPr>
          <p:spPr bwMode="black">
            <a:xfrm>
              <a:off x="8524460" y="3307977"/>
              <a:ext cx="123723" cy="27281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6" name="Freihandform 173">
              <a:extLst>
                <a:ext uri="{FF2B5EF4-FFF2-40B4-BE49-F238E27FC236}">
                  <a16:creationId xmlns:a16="http://schemas.microsoft.com/office/drawing/2014/main" id="{B3A64658-BF93-4BA5-9FC3-FA31A8C5D360}"/>
                </a:ext>
              </a:extLst>
            </p:cNvPr>
            <p:cNvSpPr/>
            <p:nvPr/>
          </p:nvSpPr>
          <p:spPr bwMode="black">
            <a:xfrm>
              <a:off x="8678227" y="3357243"/>
              <a:ext cx="198389" cy="225035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7" name="Freihandform 174">
              <a:extLst>
                <a:ext uri="{FF2B5EF4-FFF2-40B4-BE49-F238E27FC236}">
                  <a16:creationId xmlns:a16="http://schemas.microsoft.com/office/drawing/2014/main" id="{70846D43-1AA3-46AE-A131-3960116669EA}"/>
                </a:ext>
              </a:extLst>
            </p:cNvPr>
            <p:cNvSpPr/>
            <p:nvPr/>
          </p:nvSpPr>
          <p:spPr bwMode="black">
            <a:xfrm>
              <a:off x="8920858" y="3356739"/>
              <a:ext cx="117258" cy="220877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8" name="Freihandform 175">
              <a:extLst>
                <a:ext uri="{FF2B5EF4-FFF2-40B4-BE49-F238E27FC236}">
                  <a16:creationId xmlns:a16="http://schemas.microsoft.com/office/drawing/2014/main" id="{9D4BA814-ACD9-43ED-9942-88AEA62D8351}"/>
                </a:ext>
              </a:extLst>
            </p:cNvPr>
            <p:cNvSpPr/>
            <p:nvPr/>
          </p:nvSpPr>
          <p:spPr bwMode="black">
            <a:xfrm>
              <a:off x="6931516" y="3766742"/>
              <a:ext cx="307914" cy="21785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9" name="Freihandform 176">
              <a:extLst>
                <a:ext uri="{FF2B5EF4-FFF2-40B4-BE49-F238E27FC236}">
                  <a16:creationId xmlns:a16="http://schemas.microsoft.com/office/drawing/2014/main" id="{B201B25F-8CBA-471D-89C7-653A75F848BD}"/>
                </a:ext>
              </a:extLst>
            </p:cNvPr>
            <p:cNvSpPr/>
            <p:nvPr/>
          </p:nvSpPr>
          <p:spPr bwMode="black">
            <a:xfrm>
              <a:off x="7263770" y="3763970"/>
              <a:ext cx="204093" cy="224910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0" name="Freihandform 177">
              <a:extLst>
                <a:ext uri="{FF2B5EF4-FFF2-40B4-BE49-F238E27FC236}">
                  <a16:creationId xmlns:a16="http://schemas.microsoft.com/office/drawing/2014/main" id="{367348F6-FDD3-43E1-9597-AB00371D537D}"/>
                </a:ext>
              </a:extLst>
            </p:cNvPr>
            <p:cNvSpPr/>
            <p:nvPr/>
          </p:nvSpPr>
          <p:spPr bwMode="black">
            <a:xfrm>
              <a:off x="7515782" y="3763467"/>
              <a:ext cx="117258" cy="220877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1" name="Freihandform 178">
              <a:extLst>
                <a:ext uri="{FF2B5EF4-FFF2-40B4-BE49-F238E27FC236}">
                  <a16:creationId xmlns:a16="http://schemas.microsoft.com/office/drawing/2014/main" id="{DBE65B5B-CA5C-4C31-B67D-A65E7D7C3248}"/>
                </a:ext>
              </a:extLst>
            </p:cNvPr>
            <p:cNvSpPr/>
            <p:nvPr/>
          </p:nvSpPr>
          <p:spPr bwMode="black">
            <a:xfrm>
              <a:off x="7670436" y="3694167"/>
              <a:ext cx="42720" cy="290304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2" name="Freihandform 179">
              <a:extLst>
                <a:ext uri="{FF2B5EF4-FFF2-40B4-BE49-F238E27FC236}">
                  <a16:creationId xmlns:a16="http://schemas.microsoft.com/office/drawing/2014/main" id="{D7A19EE3-8A83-4A8C-BA3B-F386AC00EC1A}"/>
                </a:ext>
              </a:extLst>
            </p:cNvPr>
            <p:cNvSpPr/>
            <p:nvPr/>
          </p:nvSpPr>
          <p:spPr bwMode="black">
            <a:xfrm>
              <a:off x="7761328" y="3694167"/>
              <a:ext cx="200290" cy="294587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7" name="Freihandform 180">
              <a:extLst>
                <a:ext uri="{FF2B5EF4-FFF2-40B4-BE49-F238E27FC236}">
                  <a16:creationId xmlns:a16="http://schemas.microsoft.com/office/drawing/2014/main" id="{721CEA33-54CD-4866-BF78-AC672DEE72B4}"/>
                </a:ext>
              </a:extLst>
            </p:cNvPr>
            <p:cNvSpPr/>
            <p:nvPr/>
          </p:nvSpPr>
          <p:spPr bwMode="black">
            <a:xfrm>
              <a:off x="8022339" y="3930669"/>
              <a:ext cx="57044" cy="56573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43B18006-68CE-4C63-8A29-74153CE8E043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263525" y="6243529"/>
            <a:ext cx="1166495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3000" b="0" i="0" kern="1200">
                <a:solidFill>
                  <a:schemeClr val="tx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defRPr>
            </a:lvl1pPr>
            <a:lvl2pPr marL="4572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Symbol" pitchFamily="2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buFont typeface="Symbol" pitchFamily="2" charset="2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n-US" sz="1200">
                <a:solidFill>
                  <a:schemeClr val="bg1"/>
                </a:solidFill>
                <a:latin typeface="+mn-lt"/>
                <a:ea typeface="Inter Medium" panose="02000603000000020004" pitchFamily="2" charset="0"/>
                <a:cs typeface="Inter Medium" panose="02000603000000020004" pitchFamily="2" charset="0"/>
              </a:rPr>
              <a:t>GEA.com</a:t>
            </a:r>
          </a:p>
        </p:txBody>
      </p:sp>
    </p:spTree>
    <p:extLst>
      <p:ext uri="{BB962C8B-B14F-4D97-AF65-F5344CB8AC3E}">
        <p14:creationId xmlns:p14="http://schemas.microsoft.com/office/powerpoint/2010/main" val="10140391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48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738F76F-C2DB-4B34-9BAC-06F432009917}"/>
              </a:ext>
            </a:extLst>
          </p:cNvPr>
          <p:cNvGrpSpPr/>
          <p:nvPr userDrawn="1"/>
        </p:nvGrpSpPr>
        <p:grpSpPr>
          <a:xfrm>
            <a:off x="3017104" y="2869119"/>
            <a:ext cx="6157792" cy="1119761"/>
            <a:chOff x="3017104" y="2869119"/>
            <a:chExt cx="6157792" cy="1119761"/>
          </a:xfrm>
          <a:solidFill>
            <a:schemeClr val="tx2"/>
          </a:solidFill>
        </p:grpSpPr>
        <p:sp>
          <p:nvSpPr>
            <p:cNvPr id="48" name="Freihandform 148">
              <a:extLst>
                <a:ext uri="{FF2B5EF4-FFF2-40B4-BE49-F238E27FC236}">
                  <a16:creationId xmlns:a16="http://schemas.microsoft.com/office/drawing/2014/main" id="{60AD947E-5C1C-4CAA-8DB7-0110EF336C27}"/>
                </a:ext>
              </a:extLst>
            </p:cNvPr>
            <p:cNvSpPr/>
            <p:nvPr/>
          </p:nvSpPr>
          <p:spPr>
            <a:xfrm>
              <a:off x="5655868" y="2880585"/>
              <a:ext cx="1018566" cy="1103885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9" name="Freihandform 149">
              <a:extLst>
                <a:ext uri="{FF2B5EF4-FFF2-40B4-BE49-F238E27FC236}">
                  <a16:creationId xmlns:a16="http://schemas.microsoft.com/office/drawing/2014/main" id="{337F32C1-0D17-450E-9DFE-1F6C9CBE7504}"/>
                </a:ext>
              </a:extLst>
            </p:cNvPr>
            <p:cNvSpPr/>
            <p:nvPr/>
          </p:nvSpPr>
          <p:spPr>
            <a:xfrm>
              <a:off x="3017104" y="2880458"/>
              <a:ext cx="3101461" cy="1104011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0" name="Freihandform 150">
              <a:extLst>
                <a:ext uri="{FF2B5EF4-FFF2-40B4-BE49-F238E27FC236}">
                  <a16:creationId xmlns:a16="http://schemas.microsoft.com/office/drawing/2014/main" id="{C471FC87-338A-4010-A01B-39CFCC799040}"/>
                </a:ext>
              </a:extLst>
            </p:cNvPr>
            <p:cNvSpPr/>
            <p:nvPr/>
          </p:nvSpPr>
          <p:spPr>
            <a:xfrm>
              <a:off x="4360064" y="2880458"/>
              <a:ext cx="833107" cy="368172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5" name="Freihandform 152">
              <a:extLst>
                <a:ext uri="{FF2B5EF4-FFF2-40B4-BE49-F238E27FC236}">
                  <a16:creationId xmlns:a16="http://schemas.microsoft.com/office/drawing/2014/main" id="{98D45670-329C-4FE0-BBE8-C5276C544C5B}"/>
                </a:ext>
              </a:extLst>
            </p:cNvPr>
            <p:cNvSpPr/>
            <p:nvPr/>
          </p:nvSpPr>
          <p:spPr>
            <a:xfrm>
              <a:off x="6951799" y="2880711"/>
              <a:ext cx="184951" cy="290429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6" name="Freihandform 153">
              <a:extLst>
                <a:ext uri="{FF2B5EF4-FFF2-40B4-BE49-F238E27FC236}">
                  <a16:creationId xmlns:a16="http://schemas.microsoft.com/office/drawing/2014/main" id="{1345E2B1-7126-4AC8-B029-DD6F2C0B21A6}"/>
                </a:ext>
              </a:extLst>
            </p:cNvPr>
            <p:cNvSpPr/>
            <p:nvPr/>
          </p:nvSpPr>
          <p:spPr>
            <a:xfrm>
              <a:off x="7191007" y="2950388"/>
              <a:ext cx="182670" cy="220625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7" name="Freihandform 154">
              <a:extLst>
                <a:ext uri="{FF2B5EF4-FFF2-40B4-BE49-F238E27FC236}">
                  <a16:creationId xmlns:a16="http://schemas.microsoft.com/office/drawing/2014/main" id="{8538C58C-0D1A-4DA6-A397-057C88D40376}"/>
                </a:ext>
              </a:extLst>
            </p:cNvPr>
            <p:cNvSpPr/>
            <p:nvPr/>
          </p:nvSpPr>
          <p:spPr>
            <a:xfrm>
              <a:off x="7420960" y="2950515"/>
              <a:ext cx="200417" cy="306306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8" name="Freihandform 155">
              <a:extLst>
                <a:ext uri="{FF2B5EF4-FFF2-40B4-BE49-F238E27FC236}">
                  <a16:creationId xmlns:a16="http://schemas.microsoft.com/office/drawing/2014/main" id="{56E2C3D6-F678-4557-A72E-6ABB5A4298CC}"/>
                </a:ext>
              </a:extLst>
            </p:cNvPr>
            <p:cNvSpPr/>
            <p:nvPr/>
          </p:nvSpPr>
          <p:spPr>
            <a:xfrm>
              <a:off x="7673098" y="2869119"/>
              <a:ext cx="53748" cy="50651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19" name="Freihandform 156">
              <a:extLst>
                <a:ext uri="{FF2B5EF4-FFF2-40B4-BE49-F238E27FC236}">
                  <a16:creationId xmlns:a16="http://schemas.microsoft.com/office/drawing/2014/main" id="{554651DE-15E5-4AD8-8E1B-1EFA8D9DF86D}"/>
                </a:ext>
              </a:extLst>
            </p:cNvPr>
            <p:cNvSpPr/>
            <p:nvPr/>
          </p:nvSpPr>
          <p:spPr>
            <a:xfrm>
              <a:off x="7678422" y="2953287"/>
              <a:ext cx="42720" cy="217728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0" name="Freihandform 157">
              <a:extLst>
                <a:ext uri="{FF2B5EF4-FFF2-40B4-BE49-F238E27FC236}">
                  <a16:creationId xmlns:a16="http://schemas.microsoft.com/office/drawing/2014/main" id="{760EB6CE-44D7-4F96-B7BA-F5F919E266C2}"/>
                </a:ext>
              </a:extLst>
            </p:cNvPr>
            <p:cNvSpPr/>
            <p:nvPr/>
          </p:nvSpPr>
          <p:spPr>
            <a:xfrm>
              <a:off x="7778821" y="2950388"/>
              <a:ext cx="182670" cy="220625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1" name="Freihandform 158">
              <a:extLst>
                <a:ext uri="{FF2B5EF4-FFF2-40B4-BE49-F238E27FC236}">
                  <a16:creationId xmlns:a16="http://schemas.microsoft.com/office/drawing/2014/main" id="{B4174193-0108-4B73-BAFC-61C16F9E450F}"/>
                </a:ext>
              </a:extLst>
            </p:cNvPr>
            <p:cNvSpPr/>
            <p:nvPr/>
          </p:nvSpPr>
          <p:spPr>
            <a:xfrm>
              <a:off x="8008648" y="2950767"/>
              <a:ext cx="198262" cy="224783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2" name="Freihandform 159">
              <a:extLst>
                <a:ext uri="{FF2B5EF4-FFF2-40B4-BE49-F238E27FC236}">
                  <a16:creationId xmlns:a16="http://schemas.microsoft.com/office/drawing/2014/main" id="{E8F529A8-7A94-477E-B9A0-D23388625A03}"/>
                </a:ext>
              </a:extLst>
            </p:cNvPr>
            <p:cNvSpPr/>
            <p:nvPr/>
          </p:nvSpPr>
          <p:spPr>
            <a:xfrm>
              <a:off x="8244433" y="2950767"/>
              <a:ext cx="198262" cy="224783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3" name="Freihandform 160">
              <a:extLst>
                <a:ext uri="{FF2B5EF4-FFF2-40B4-BE49-F238E27FC236}">
                  <a16:creationId xmlns:a16="http://schemas.microsoft.com/office/drawing/2014/main" id="{37DEB0C4-0DEB-4FA9-814C-297B72F4A45F}"/>
                </a:ext>
              </a:extLst>
            </p:cNvPr>
            <p:cNvSpPr/>
            <p:nvPr/>
          </p:nvSpPr>
          <p:spPr>
            <a:xfrm>
              <a:off x="8490233" y="2950011"/>
              <a:ext cx="117258" cy="221003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4" name="Freihandform 161">
              <a:extLst>
                <a:ext uri="{FF2B5EF4-FFF2-40B4-BE49-F238E27FC236}">
                  <a16:creationId xmlns:a16="http://schemas.microsoft.com/office/drawing/2014/main" id="{E3BA12B5-1681-4B1D-9850-AF697DA22768}"/>
                </a:ext>
              </a:extLst>
            </p:cNvPr>
            <p:cNvSpPr/>
            <p:nvPr/>
          </p:nvSpPr>
          <p:spPr>
            <a:xfrm>
              <a:off x="8644507" y="2953287"/>
              <a:ext cx="42720" cy="217728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5" name="Freihandform 162">
              <a:extLst>
                <a:ext uri="{FF2B5EF4-FFF2-40B4-BE49-F238E27FC236}">
                  <a16:creationId xmlns:a16="http://schemas.microsoft.com/office/drawing/2014/main" id="{6536A9F0-A332-4FB0-AD9A-F8B9C214A3F2}"/>
                </a:ext>
              </a:extLst>
            </p:cNvPr>
            <p:cNvSpPr/>
            <p:nvPr/>
          </p:nvSpPr>
          <p:spPr>
            <a:xfrm>
              <a:off x="8639183" y="2869119"/>
              <a:ext cx="53748" cy="50651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6" name="Freihandform 163">
              <a:extLst>
                <a:ext uri="{FF2B5EF4-FFF2-40B4-BE49-F238E27FC236}">
                  <a16:creationId xmlns:a16="http://schemas.microsoft.com/office/drawing/2014/main" id="{6E7DCB97-14CF-407F-9898-7C35F8166552}"/>
                </a:ext>
              </a:extLst>
            </p:cNvPr>
            <p:cNvSpPr/>
            <p:nvPr/>
          </p:nvSpPr>
          <p:spPr>
            <a:xfrm>
              <a:off x="8744779" y="2950388"/>
              <a:ext cx="182670" cy="220751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7" name="Freihandform 164">
              <a:extLst>
                <a:ext uri="{FF2B5EF4-FFF2-40B4-BE49-F238E27FC236}">
                  <a16:creationId xmlns:a16="http://schemas.microsoft.com/office/drawing/2014/main" id="{4FABCAA5-925D-413F-9B91-393E926D8937}"/>
                </a:ext>
              </a:extLst>
            </p:cNvPr>
            <p:cNvSpPr/>
            <p:nvPr/>
          </p:nvSpPr>
          <p:spPr>
            <a:xfrm>
              <a:off x="8974733" y="2950515"/>
              <a:ext cx="200163" cy="306306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8" name="Freihandform 165">
              <a:extLst>
                <a:ext uri="{FF2B5EF4-FFF2-40B4-BE49-F238E27FC236}">
                  <a16:creationId xmlns:a16="http://schemas.microsoft.com/office/drawing/2014/main" id="{457D4293-93FB-4E03-9F0D-20D508009406}"/>
                </a:ext>
              </a:extLst>
            </p:cNvPr>
            <p:cNvSpPr/>
            <p:nvPr/>
          </p:nvSpPr>
          <p:spPr>
            <a:xfrm>
              <a:off x="6928854" y="3273830"/>
              <a:ext cx="134499" cy="30403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29" name="Freihandform 166">
              <a:extLst>
                <a:ext uri="{FF2B5EF4-FFF2-40B4-BE49-F238E27FC236}">
                  <a16:creationId xmlns:a16="http://schemas.microsoft.com/office/drawing/2014/main" id="{8279655D-862F-44B8-9F2D-7E3F938A2BD7}"/>
                </a:ext>
              </a:extLst>
            </p:cNvPr>
            <p:cNvSpPr/>
            <p:nvPr/>
          </p:nvSpPr>
          <p:spPr>
            <a:xfrm>
              <a:off x="7083762" y="3357243"/>
              <a:ext cx="204093" cy="224909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0" name="Freihandform 167">
              <a:extLst>
                <a:ext uri="{FF2B5EF4-FFF2-40B4-BE49-F238E27FC236}">
                  <a16:creationId xmlns:a16="http://schemas.microsoft.com/office/drawing/2014/main" id="{23055635-2B90-4635-86D1-B3E930110EBA}"/>
                </a:ext>
              </a:extLst>
            </p:cNvPr>
            <p:cNvSpPr/>
            <p:nvPr/>
          </p:nvSpPr>
          <p:spPr>
            <a:xfrm>
              <a:off x="7332097" y="3356739"/>
              <a:ext cx="117258" cy="221004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1" name="Freihandform 168">
              <a:extLst>
                <a:ext uri="{FF2B5EF4-FFF2-40B4-BE49-F238E27FC236}">
                  <a16:creationId xmlns:a16="http://schemas.microsoft.com/office/drawing/2014/main" id="{7CD89335-1D2A-43FB-8FCC-3E6DDEA0D260}"/>
                </a:ext>
              </a:extLst>
            </p:cNvPr>
            <p:cNvSpPr/>
            <p:nvPr/>
          </p:nvSpPr>
          <p:spPr>
            <a:xfrm>
              <a:off x="7576249" y="3357243"/>
              <a:ext cx="182289" cy="225539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2" name="Freihandform 169">
              <a:extLst>
                <a:ext uri="{FF2B5EF4-FFF2-40B4-BE49-F238E27FC236}">
                  <a16:creationId xmlns:a16="http://schemas.microsoft.com/office/drawing/2014/main" id="{4E94D460-9BED-49DA-81EE-4942BCA9B41F}"/>
                </a:ext>
              </a:extLst>
            </p:cNvPr>
            <p:cNvSpPr/>
            <p:nvPr/>
          </p:nvSpPr>
          <p:spPr>
            <a:xfrm>
              <a:off x="7918517" y="3287439"/>
              <a:ext cx="200163" cy="294588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3" name="Freihandform 170">
              <a:extLst>
                <a:ext uri="{FF2B5EF4-FFF2-40B4-BE49-F238E27FC236}">
                  <a16:creationId xmlns:a16="http://schemas.microsoft.com/office/drawing/2014/main" id="{B609A7E8-1FF0-4B3D-B11B-CDC0ADFFFD54}"/>
                </a:ext>
              </a:extLst>
            </p:cNvPr>
            <p:cNvSpPr/>
            <p:nvPr/>
          </p:nvSpPr>
          <p:spPr>
            <a:xfrm>
              <a:off x="8153289" y="3357243"/>
              <a:ext cx="198388" cy="225035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4" name="Freihandform 171">
              <a:extLst>
                <a:ext uri="{FF2B5EF4-FFF2-40B4-BE49-F238E27FC236}">
                  <a16:creationId xmlns:a16="http://schemas.microsoft.com/office/drawing/2014/main" id="{28E26E24-ADE6-4323-8A1C-D69B91396027}"/>
                </a:ext>
              </a:extLst>
            </p:cNvPr>
            <p:cNvSpPr/>
            <p:nvPr/>
          </p:nvSpPr>
          <p:spPr>
            <a:xfrm>
              <a:off x="8378425" y="3307977"/>
              <a:ext cx="123723" cy="27281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5" name="Freihandform 172">
              <a:extLst>
                <a:ext uri="{FF2B5EF4-FFF2-40B4-BE49-F238E27FC236}">
                  <a16:creationId xmlns:a16="http://schemas.microsoft.com/office/drawing/2014/main" id="{CB951ACA-365B-41E0-A644-319935FAD00F}"/>
                </a:ext>
              </a:extLst>
            </p:cNvPr>
            <p:cNvSpPr/>
            <p:nvPr/>
          </p:nvSpPr>
          <p:spPr>
            <a:xfrm>
              <a:off x="8524460" y="3307977"/>
              <a:ext cx="123723" cy="27281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6" name="Freihandform 173">
              <a:extLst>
                <a:ext uri="{FF2B5EF4-FFF2-40B4-BE49-F238E27FC236}">
                  <a16:creationId xmlns:a16="http://schemas.microsoft.com/office/drawing/2014/main" id="{B3A64658-BF93-4BA5-9FC3-FA31A8C5D360}"/>
                </a:ext>
              </a:extLst>
            </p:cNvPr>
            <p:cNvSpPr/>
            <p:nvPr/>
          </p:nvSpPr>
          <p:spPr>
            <a:xfrm>
              <a:off x="8678227" y="3357243"/>
              <a:ext cx="198389" cy="225035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7" name="Freihandform 174">
              <a:extLst>
                <a:ext uri="{FF2B5EF4-FFF2-40B4-BE49-F238E27FC236}">
                  <a16:creationId xmlns:a16="http://schemas.microsoft.com/office/drawing/2014/main" id="{70846D43-1AA3-46AE-A131-3960116669EA}"/>
                </a:ext>
              </a:extLst>
            </p:cNvPr>
            <p:cNvSpPr/>
            <p:nvPr/>
          </p:nvSpPr>
          <p:spPr>
            <a:xfrm>
              <a:off x="8920858" y="3356739"/>
              <a:ext cx="117258" cy="220877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8" name="Freihandform 175">
              <a:extLst>
                <a:ext uri="{FF2B5EF4-FFF2-40B4-BE49-F238E27FC236}">
                  <a16:creationId xmlns:a16="http://schemas.microsoft.com/office/drawing/2014/main" id="{9D4BA814-ACD9-43ED-9942-88AEA62D8351}"/>
                </a:ext>
              </a:extLst>
            </p:cNvPr>
            <p:cNvSpPr/>
            <p:nvPr/>
          </p:nvSpPr>
          <p:spPr>
            <a:xfrm>
              <a:off x="6931516" y="3766742"/>
              <a:ext cx="307914" cy="21785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39" name="Freihandform 176">
              <a:extLst>
                <a:ext uri="{FF2B5EF4-FFF2-40B4-BE49-F238E27FC236}">
                  <a16:creationId xmlns:a16="http://schemas.microsoft.com/office/drawing/2014/main" id="{B201B25F-8CBA-471D-89C7-653A75F848BD}"/>
                </a:ext>
              </a:extLst>
            </p:cNvPr>
            <p:cNvSpPr/>
            <p:nvPr/>
          </p:nvSpPr>
          <p:spPr>
            <a:xfrm>
              <a:off x="7263770" y="3763970"/>
              <a:ext cx="204093" cy="224910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0" name="Freihandform 177">
              <a:extLst>
                <a:ext uri="{FF2B5EF4-FFF2-40B4-BE49-F238E27FC236}">
                  <a16:creationId xmlns:a16="http://schemas.microsoft.com/office/drawing/2014/main" id="{367348F6-FDD3-43E1-9597-AB00371D537D}"/>
                </a:ext>
              </a:extLst>
            </p:cNvPr>
            <p:cNvSpPr/>
            <p:nvPr/>
          </p:nvSpPr>
          <p:spPr>
            <a:xfrm>
              <a:off x="7515782" y="3763467"/>
              <a:ext cx="117258" cy="220877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1" name="Freihandform 178">
              <a:extLst>
                <a:ext uri="{FF2B5EF4-FFF2-40B4-BE49-F238E27FC236}">
                  <a16:creationId xmlns:a16="http://schemas.microsoft.com/office/drawing/2014/main" id="{DBE65B5B-CA5C-4C31-B67D-A65E7D7C3248}"/>
                </a:ext>
              </a:extLst>
            </p:cNvPr>
            <p:cNvSpPr/>
            <p:nvPr/>
          </p:nvSpPr>
          <p:spPr>
            <a:xfrm>
              <a:off x="7670436" y="3694167"/>
              <a:ext cx="42720" cy="290304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2" name="Freihandform 179">
              <a:extLst>
                <a:ext uri="{FF2B5EF4-FFF2-40B4-BE49-F238E27FC236}">
                  <a16:creationId xmlns:a16="http://schemas.microsoft.com/office/drawing/2014/main" id="{D7A19EE3-8A83-4A8C-BA3B-F386AC00EC1A}"/>
                </a:ext>
              </a:extLst>
            </p:cNvPr>
            <p:cNvSpPr/>
            <p:nvPr/>
          </p:nvSpPr>
          <p:spPr>
            <a:xfrm>
              <a:off x="7761328" y="3694167"/>
              <a:ext cx="200290" cy="294587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47" name="Freihandform 180">
              <a:extLst>
                <a:ext uri="{FF2B5EF4-FFF2-40B4-BE49-F238E27FC236}">
                  <a16:creationId xmlns:a16="http://schemas.microsoft.com/office/drawing/2014/main" id="{721CEA33-54CD-4866-BF78-AC672DEE72B4}"/>
                </a:ext>
              </a:extLst>
            </p:cNvPr>
            <p:cNvSpPr/>
            <p:nvPr/>
          </p:nvSpPr>
          <p:spPr>
            <a:xfrm>
              <a:off x="8022339" y="3930669"/>
              <a:ext cx="57044" cy="56573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43B18006-68CE-4C63-8A29-74153CE8E04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63525" y="6243529"/>
            <a:ext cx="11664950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3000" b="0" i="0" kern="1200">
                <a:solidFill>
                  <a:schemeClr val="tx1"/>
                </a:solidFill>
                <a:latin typeface="Inter Light" panose="02000403000000020004" pitchFamily="2" charset="0"/>
                <a:ea typeface="Inter Light" panose="02000403000000020004" pitchFamily="2" charset="0"/>
                <a:cs typeface="Inter Light" panose="02000403000000020004" pitchFamily="2" charset="0"/>
              </a:defRPr>
            </a:lvl1pPr>
            <a:lvl2pPr marL="4572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Font typeface="Symbol" pitchFamily="2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3000"/>
              </a:lnSpc>
              <a:spcBef>
                <a:spcPts val="0"/>
              </a:spcBef>
              <a:buFont typeface="Symbol" pitchFamily="2" charset="2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Symbol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en-US" sz="1200">
                <a:solidFill>
                  <a:schemeClr val="accent1"/>
                </a:solidFill>
                <a:latin typeface="+mn-lt"/>
                <a:ea typeface="Inter Medium" panose="02000603000000020004" pitchFamily="2" charset="0"/>
                <a:cs typeface="Inter Medium" panose="02000603000000020004" pitchFamily="2" charset="0"/>
              </a:rPr>
              <a:t>GEA.com</a:t>
            </a:r>
          </a:p>
        </p:txBody>
      </p:sp>
    </p:spTree>
    <p:extLst>
      <p:ext uri="{BB962C8B-B14F-4D97-AF65-F5344CB8AC3E}">
        <p14:creationId xmlns:p14="http://schemas.microsoft.com/office/powerpoint/2010/main" val="3801415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ultiple Content" userDrawn="1">
  <p:cSld name="Multi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799" y="1221317"/>
            <a:ext cx="5281085" cy="5088467"/>
          </a:xfrm>
        </p:spPr>
        <p:txBody>
          <a:bodyPr/>
          <a:lstStyle>
            <a:lvl2pPr marL="479976" indent="-241289">
              <a:buFont typeface="Symbol" panose="05050102010706020507" pitchFamily="18" charset="2"/>
              <a:buChar char="-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998204" y="1220755"/>
            <a:ext cx="5281083" cy="2040259"/>
          </a:xfrm>
        </p:spPr>
        <p:txBody>
          <a:bodyPr/>
          <a:lstStyle>
            <a:lvl2pPr marL="479976" indent="-241289">
              <a:buFont typeface="Symbol" panose="05050102010706020507" pitchFamily="18" charset="2"/>
              <a:buChar char="-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004338" y="3376556"/>
            <a:ext cx="5274949" cy="261720"/>
          </a:xfrm>
        </p:spPr>
        <p:txBody>
          <a:bodyPr anchor="t"/>
          <a:lstStyle>
            <a:lvl1pPr marL="0" indent="0">
              <a:buNone/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Inhaltsplatzhalter 5"/>
          <p:cNvSpPr>
            <a:spLocks noGrp="1"/>
          </p:cNvSpPr>
          <p:nvPr>
            <p:ph sz="quarter" idx="16" hasCustomPrompt="1"/>
          </p:nvPr>
        </p:nvSpPr>
        <p:spPr>
          <a:xfrm>
            <a:off x="5998204" y="3909716"/>
            <a:ext cx="5281083" cy="2039555"/>
          </a:xfrm>
        </p:spPr>
        <p:txBody>
          <a:bodyPr/>
          <a:lstStyle>
            <a:lvl2pPr marL="479976" indent="-241289">
              <a:buFont typeface="Symbol" panose="05050102010706020507" pitchFamily="18" charset="2"/>
              <a:buChar char="-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5999556" y="6047600"/>
            <a:ext cx="5281083" cy="261720"/>
          </a:xfrm>
        </p:spPr>
        <p:txBody>
          <a:bodyPr anchor="t"/>
          <a:lstStyle>
            <a:lvl1pPr marL="0" indent="0">
              <a:buNone/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431800" y="165101"/>
            <a:ext cx="8447617" cy="461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11088555" y="6498153"/>
            <a:ext cx="525596" cy="205121"/>
          </a:xfrm>
        </p:spPr>
        <p:txBody>
          <a:bodyPr/>
          <a:lstStyle>
            <a:lvl1pPr algn="r">
              <a:defRPr/>
            </a:lvl1pPr>
          </a:lstStyle>
          <a:p>
            <a:fld id="{D46619FA-62B9-4C58-8D46-9877ED4AF800}" type="slidenum">
              <a:rPr lang="en-US" sz="1333" b="1" smtClean="0"/>
              <a:pPr/>
              <a:t>‹Nr.›</a:t>
            </a:fld>
            <a:r>
              <a:rPr lang="en-US"/>
              <a:t>  </a:t>
            </a:r>
          </a:p>
        </p:txBody>
      </p:sp>
      <p:sp>
        <p:nvSpPr>
          <p:cNvPr id="13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431802" y="6542807"/>
            <a:ext cx="6432285" cy="15388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de-DE" sz="10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77"/>
            <a:r>
              <a:rPr lang="en-US"/>
              <a:t>Capital Market´s day - Online communication</a:t>
            </a:r>
          </a:p>
        </p:txBody>
      </p:sp>
      <p:sp>
        <p:nvSpPr>
          <p:cNvPr id="15" name="Datumsplatzhalter 2"/>
          <p:cNvSpPr>
            <a:spLocks noGrp="1"/>
          </p:cNvSpPr>
          <p:nvPr>
            <p:ph type="dt" sz="half" idx="2"/>
          </p:nvPr>
        </p:nvSpPr>
        <p:spPr>
          <a:xfrm>
            <a:off x="7535697" y="6509495"/>
            <a:ext cx="1824204" cy="18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ED83010B-988D-4AAC-B74C-4AB817FA5B63}" type="datetime4">
              <a:rPr lang="en-US" smtClean="0"/>
              <a:t>October 17, 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37817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white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10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F8E679-E260-49EB-A3CA-F368C0674365}"/>
              </a:ext>
            </a:extLst>
          </p:cNvPr>
          <p:cNvGrpSpPr/>
          <p:nvPr userDrawn="1"/>
        </p:nvGrpSpPr>
        <p:grpSpPr>
          <a:xfrm>
            <a:off x="270000" y="270000"/>
            <a:ext cx="1346400" cy="244836"/>
            <a:chOff x="270000" y="270000"/>
            <a:chExt cx="1346400" cy="244836"/>
          </a:xfrm>
          <a:solidFill>
            <a:schemeClr val="accent1"/>
          </a:solidFill>
        </p:grpSpPr>
        <p:sp>
          <p:nvSpPr>
            <p:cNvPr id="86" name="Freihandform 42">
              <a:extLst>
                <a:ext uri="{FF2B5EF4-FFF2-40B4-BE49-F238E27FC236}">
                  <a16:creationId xmlns:a16="http://schemas.microsoft.com/office/drawing/2014/main" id="{C78A4FAC-CC44-4149-A771-0D69677F7ECA}"/>
                </a:ext>
              </a:extLst>
            </p:cNvPr>
            <p:cNvSpPr/>
            <p:nvPr/>
          </p:nvSpPr>
          <p:spPr bwMode="invGray">
            <a:xfrm>
              <a:off x="846965" y="272507"/>
              <a:ext cx="222709" cy="241364"/>
            </a:xfrm>
            <a:custGeom>
              <a:avLst/>
              <a:gdLst>
                <a:gd name="connsiteX0" fmla="*/ 462697 w 1018566"/>
                <a:gd name="connsiteY0" fmla="*/ 0 h 1103885"/>
                <a:gd name="connsiteX1" fmla="*/ 185079 w 1018566"/>
                <a:gd name="connsiteY1" fmla="*/ 0 h 1103885"/>
                <a:gd name="connsiteX2" fmla="*/ 0 w 1018566"/>
                <a:gd name="connsiteY2" fmla="*/ 368046 h 1103885"/>
                <a:gd name="connsiteX3" fmla="*/ 205995 w 1018566"/>
                <a:gd name="connsiteY3" fmla="*/ 368046 h 1103885"/>
                <a:gd name="connsiteX4" fmla="*/ 324648 w 1018566"/>
                <a:gd name="connsiteY4" fmla="*/ 132300 h 1103885"/>
                <a:gd name="connsiteX5" fmla="*/ 812698 w 1018566"/>
                <a:gd name="connsiteY5" fmla="*/ 1103886 h 1103885"/>
                <a:gd name="connsiteX6" fmla="*/ 1018566 w 1018566"/>
                <a:gd name="connsiteY6" fmla="*/ 1103886 h 1103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8566" h="1103885">
                  <a:moveTo>
                    <a:pt x="462697" y="0"/>
                  </a:moveTo>
                  <a:lnTo>
                    <a:pt x="185079" y="0"/>
                  </a:lnTo>
                  <a:lnTo>
                    <a:pt x="0" y="368046"/>
                  </a:lnTo>
                  <a:lnTo>
                    <a:pt x="205995" y="368046"/>
                  </a:lnTo>
                  <a:lnTo>
                    <a:pt x="324648" y="132300"/>
                  </a:lnTo>
                  <a:lnTo>
                    <a:pt x="812698" y="1103886"/>
                  </a:lnTo>
                  <a:lnTo>
                    <a:pt x="1018566" y="110388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7" name="Freihandform 43">
              <a:extLst>
                <a:ext uri="{FF2B5EF4-FFF2-40B4-BE49-F238E27FC236}">
                  <a16:creationId xmlns:a16="http://schemas.microsoft.com/office/drawing/2014/main" id="{DE7A47C8-1A17-47CB-B506-734C6F33ACE4}"/>
                </a:ext>
              </a:extLst>
            </p:cNvPr>
            <p:cNvSpPr/>
            <p:nvPr/>
          </p:nvSpPr>
          <p:spPr bwMode="invGray">
            <a:xfrm>
              <a:off x="270000" y="272479"/>
              <a:ext cx="678133" cy="241392"/>
            </a:xfrm>
            <a:custGeom>
              <a:avLst/>
              <a:gdLst>
                <a:gd name="connsiteX0" fmla="*/ 3008922 w 3101461"/>
                <a:gd name="connsiteY0" fmla="*/ 460152 h 1104011"/>
                <a:gd name="connsiteX1" fmla="*/ 602646 w 3101461"/>
                <a:gd name="connsiteY1" fmla="*/ 460152 h 1104011"/>
                <a:gd name="connsiteX2" fmla="*/ 510107 w 3101461"/>
                <a:gd name="connsiteY2" fmla="*/ 644112 h 1104011"/>
                <a:gd name="connsiteX3" fmla="*/ 880264 w 3101461"/>
                <a:gd name="connsiteY3" fmla="*/ 644112 h 1104011"/>
                <a:gd name="connsiteX4" fmla="*/ 880264 w 3101461"/>
                <a:gd name="connsiteY4" fmla="*/ 920052 h 1104011"/>
                <a:gd name="connsiteX5" fmla="*/ 552193 w 3101461"/>
                <a:gd name="connsiteY5" fmla="*/ 920052 h 1104011"/>
                <a:gd name="connsiteX6" fmla="*/ 184191 w 3101461"/>
                <a:gd name="connsiteY6" fmla="*/ 552258 h 1104011"/>
                <a:gd name="connsiteX7" fmla="*/ 552193 w 3101461"/>
                <a:gd name="connsiteY7" fmla="*/ 184086 h 1104011"/>
                <a:gd name="connsiteX8" fmla="*/ 972550 w 3101461"/>
                <a:gd name="connsiteY8" fmla="*/ 184086 h 1104011"/>
                <a:gd name="connsiteX9" fmla="*/ 972550 w 3101461"/>
                <a:gd name="connsiteY9" fmla="*/ 0 h 1104011"/>
                <a:gd name="connsiteX10" fmla="*/ 552193 w 3101461"/>
                <a:gd name="connsiteY10" fmla="*/ 0 h 1104011"/>
                <a:gd name="connsiteX11" fmla="*/ 0 w 3101461"/>
                <a:gd name="connsiteY11" fmla="*/ 552258 h 1104011"/>
                <a:gd name="connsiteX12" fmla="*/ 552193 w 3101461"/>
                <a:gd name="connsiteY12" fmla="*/ 1104012 h 1104011"/>
                <a:gd name="connsiteX13" fmla="*/ 1065470 w 3101461"/>
                <a:gd name="connsiteY13" fmla="*/ 1104012 h 1104011"/>
                <a:gd name="connsiteX14" fmla="*/ 1065470 w 3101461"/>
                <a:gd name="connsiteY14" fmla="*/ 644112 h 1104011"/>
                <a:gd name="connsiteX15" fmla="*/ 1343088 w 3101461"/>
                <a:gd name="connsiteY15" fmla="*/ 644112 h 1104011"/>
                <a:gd name="connsiteX16" fmla="*/ 1343088 w 3101461"/>
                <a:gd name="connsiteY16" fmla="*/ 1104012 h 1104011"/>
                <a:gd name="connsiteX17" fmla="*/ 2083529 w 3101461"/>
                <a:gd name="connsiteY17" fmla="*/ 1104012 h 1104011"/>
                <a:gd name="connsiteX18" fmla="*/ 2176068 w 3101461"/>
                <a:gd name="connsiteY18" fmla="*/ 920052 h 1104011"/>
                <a:gd name="connsiteX19" fmla="*/ 1528166 w 3101461"/>
                <a:gd name="connsiteY19" fmla="*/ 920052 h 1104011"/>
                <a:gd name="connsiteX20" fmla="*/ 1528166 w 3101461"/>
                <a:gd name="connsiteY20" fmla="*/ 644112 h 1104011"/>
                <a:gd name="connsiteX21" fmla="*/ 2498815 w 3101461"/>
                <a:gd name="connsiteY21" fmla="*/ 644112 h 1104011"/>
                <a:gd name="connsiteX22" fmla="*/ 2268608 w 3101461"/>
                <a:gd name="connsiteY22" fmla="*/ 1104012 h 1104011"/>
                <a:gd name="connsiteX23" fmla="*/ 2474476 w 3101461"/>
                <a:gd name="connsiteY23" fmla="*/ 1104012 h 1104011"/>
                <a:gd name="connsiteX24" fmla="*/ 2705824 w 3101461"/>
                <a:gd name="connsiteY24" fmla="*/ 644112 h 1104011"/>
                <a:gd name="connsiteX25" fmla="*/ 3101461 w 3101461"/>
                <a:gd name="connsiteY25" fmla="*/ 644112 h 1104011"/>
                <a:gd name="connsiteX26" fmla="*/ 3008922 w 3101461"/>
                <a:gd name="connsiteY26" fmla="*/ 460152 h 1104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1461" h="1104011">
                  <a:moveTo>
                    <a:pt x="3008922" y="460152"/>
                  </a:moveTo>
                  <a:lnTo>
                    <a:pt x="602646" y="460152"/>
                  </a:lnTo>
                  <a:lnTo>
                    <a:pt x="510107" y="644112"/>
                  </a:lnTo>
                  <a:lnTo>
                    <a:pt x="880264" y="644112"/>
                  </a:lnTo>
                  <a:lnTo>
                    <a:pt x="880264" y="920052"/>
                  </a:lnTo>
                  <a:lnTo>
                    <a:pt x="552193" y="920052"/>
                  </a:lnTo>
                  <a:cubicBezTo>
                    <a:pt x="349368" y="920052"/>
                    <a:pt x="184191" y="755748"/>
                    <a:pt x="184191" y="552258"/>
                  </a:cubicBezTo>
                  <a:cubicBezTo>
                    <a:pt x="184191" y="348768"/>
                    <a:pt x="349241" y="184086"/>
                    <a:pt x="552193" y="184086"/>
                  </a:cubicBezTo>
                  <a:lnTo>
                    <a:pt x="972550" y="184086"/>
                  </a:lnTo>
                  <a:lnTo>
                    <a:pt x="972550" y="0"/>
                  </a:lnTo>
                  <a:lnTo>
                    <a:pt x="552193" y="0"/>
                  </a:lnTo>
                  <a:cubicBezTo>
                    <a:pt x="247701" y="0"/>
                    <a:pt x="0" y="247716"/>
                    <a:pt x="0" y="552258"/>
                  </a:cubicBezTo>
                  <a:cubicBezTo>
                    <a:pt x="0" y="856800"/>
                    <a:pt x="247701" y="1104012"/>
                    <a:pt x="552193" y="1104012"/>
                  </a:cubicBezTo>
                  <a:lnTo>
                    <a:pt x="1065470" y="1104012"/>
                  </a:lnTo>
                  <a:lnTo>
                    <a:pt x="1065470" y="644112"/>
                  </a:lnTo>
                  <a:lnTo>
                    <a:pt x="1343088" y="644112"/>
                  </a:lnTo>
                  <a:lnTo>
                    <a:pt x="1343088" y="1104012"/>
                  </a:lnTo>
                  <a:lnTo>
                    <a:pt x="2083529" y="1104012"/>
                  </a:lnTo>
                  <a:lnTo>
                    <a:pt x="2176068" y="920052"/>
                  </a:lnTo>
                  <a:lnTo>
                    <a:pt x="1528166" y="920052"/>
                  </a:lnTo>
                  <a:lnTo>
                    <a:pt x="1528166" y="644112"/>
                  </a:lnTo>
                  <a:lnTo>
                    <a:pt x="2498815" y="644112"/>
                  </a:lnTo>
                  <a:lnTo>
                    <a:pt x="2268608" y="1104012"/>
                  </a:lnTo>
                  <a:lnTo>
                    <a:pt x="2474476" y="1104012"/>
                  </a:lnTo>
                  <a:lnTo>
                    <a:pt x="2705824" y="644112"/>
                  </a:lnTo>
                  <a:lnTo>
                    <a:pt x="3101461" y="644112"/>
                  </a:lnTo>
                  <a:lnTo>
                    <a:pt x="3008922" y="46015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8" name="Freihandform 46">
              <a:extLst>
                <a:ext uri="{FF2B5EF4-FFF2-40B4-BE49-F238E27FC236}">
                  <a16:creationId xmlns:a16="http://schemas.microsoft.com/office/drawing/2014/main" id="{F6980514-C5C3-4070-9D53-3F4B40A250FD}"/>
                </a:ext>
              </a:extLst>
            </p:cNvPr>
            <p:cNvSpPr/>
            <p:nvPr/>
          </p:nvSpPr>
          <p:spPr bwMode="invGray">
            <a:xfrm>
              <a:off x="563638" y="272479"/>
              <a:ext cx="182159" cy="80501"/>
            </a:xfrm>
            <a:custGeom>
              <a:avLst/>
              <a:gdLst>
                <a:gd name="connsiteX0" fmla="*/ 185205 w 833107"/>
                <a:gd name="connsiteY0" fmla="*/ 184086 h 368172"/>
                <a:gd name="connsiteX1" fmla="*/ 833107 w 833107"/>
                <a:gd name="connsiteY1" fmla="*/ 184212 h 368172"/>
                <a:gd name="connsiteX2" fmla="*/ 833107 w 833107"/>
                <a:gd name="connsiteY2" fmla="*/ 126 h 368172"/>
                <a:gd name="connsiteX3" fmla="*/ 0 w 833107"/>
                <a:gd name="connsiteY3" fmla="*/ 0 h 368172"/>
                <a:gd name="connsiteX4" fmla="*/ 0 w 833107"/>
                <a:gd name="connsiteY4" fmla="*/ 368172 h 368172"/>
                <a:gd name="connsiteX5" fmla="*/ 185205 w 833107"/>
                <a:gd name="connsiteY5" fmla="*/ 368172 h 368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3107" h="368172">
                  <a:moveTo>
                    <a:pt x="185205" y="184086"/>
                  </a:moveTo>
                  <a:lnTo>
                    <a:pt x="833107" y="184212"/>
                  </a:lnTo>
                  <a:lnTo>
                    <a:pt x="833107" y="126"/>
                  </a:lnTo>
                  <a:lnTo>
                    <a:pt x="0" y="0"/>
                  </a:lnTo>
                  <a:lnTo>
                    <a:pt x="0" y="368172"/>
                  </a:lnTo>
                  <a:lnTo>
                    <a:pt x="185205" y="36817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Freihandform 13">
              <a:extLst>
                <a:ext uri="{FF2B5EF4-FFF2-40B4-BE49-F238E27FC236}">
                  <a16:creationId xmlns:a16="http://schemas.microsoft.com/office/drawing/2014/main" id="{5F79A0FA-6215-4C9E-88D3-6859B5F32E15}"/>
                </a:ext>
              </a:extLst>
            </p:cNvPr>
            <p:cNvSpPr/>
            <p:nvPr/>
          </p:nvSpPr>
          <p:spPr bwMode="invGray">
            <a:xfrm>
              <a:off x="1130320" y="272535"/>
              <a:ext cx="40440" cy="63502"/>
            </a:xfrm>
            <a:custGeom>
              <a:avLst/>
              <a:gdLst>
                <a:gd name="connsiteX0" fmla="*/ 184952 w 184951"/>
                <a:gd name="connsiteY0" fmla="*/ 252630 h 290429"/>
                <a:gd name="connsiteX1" fmla="*/ 44114 w 184951"/>
                <a:gd name="connsiteY1" fmla="*/ 252630 h 290429"/>
                <a:gd name="connsiteX2" fmla="*/ 44114 w 184951"/>
                <a:gd name="connsiteY2" fmla="*/ 163800 h 290429"/>
                <a:gd name="connsiteX3" fmla="*/ 173669 w 184951"/>
                <a:gd name="connsiteY3" fmla="*/ 163800 h 290429"/>
                <a:gd name="connsiteX4" fmla="*/ 173669 w 184951"/>
                <a:gd name="connsiteY4" fmla="*/ 126252 h 290429"/>
                <a:gd name="connsiteX5" fmla="*/ 44114 w 184951"/>
                <a:gd name="connsiteY5" fmla="*/ 126252 h 290429"/>
                <a:gd name="connsiteX6" fmla="*/ 44114 w 184951"/>
                <a:gd name="connsiteY6" fmla="*/ 37800 h 290429"/>
                <a:gd name="connsiteX7" fmla="*/ 183177 w 184951"/>
                <a:gd name="connsiteY7" fmla="*/ 37800 h 290429"/>
                <a:gd name="connsiteX8" fmla="*/ 183177 w 184951"/>
                <a:gd name="connsiteY8" fmla="*/ 0 h 290429"/>
                <a:gd name="connsiteX9" fmla="*/ 0 w 184951"/>
                <a:gd name="connsiteY9" fmla="*/ 0 h 290429"/>
                <a:gd name="connsiteX10" fmla="*/ 0 w 184951"/>
                <a:gd name="connsiteY10" fmla="*/ 290430 h 290429"/>
                <a:gd name="connsiteX11" fmla="*/ 184952 w 184951"/>
                <a:gd name="connsiteY11" fmla="*/ 290430 h 290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4951" h="290429">
                  <a:moveTo>
                    <a:pt x="184952" y="252630"/>
                  </a:moveTo>
                  <a:lnTo>
                    <a:pt x="44114" y="252630"/>
                  </a:lnTo>
                  <a:lnTo>
                    <a:pt x="44114" y="163800"/>
                  </a:lnTo>
                  <a:lnTo>
                    <a:pt x="173669" y="163800"/>
                  </a:lnTo>
                  <a:lnTo>
                    <a:pt x="173669" y="126252"/>
                  </a:lnTo>
                  <a:lnTo>
                    <a:pt x="44114" y="126252"/>
                  </a:lnTo>
                  <a:lnTo>
                    <a:pt x="44114" y="37800"/>
                  </a:lnTo>
                  <a:lnTo>
                    <a:pt x="183177" y="37800"/>
                  </a:lnTo>
                  <a:lnTo>
                    <a:pt x="183177" y="0"/>
                  </a:lnTo>
                  <a:lnTo>
                    <a:pt x="0" y="0"/>
                  </a:lnTo>
                  <a:lnTo>
                    <a:pt x="0" y="290430"/>
                  </a:lnTo>
                  <a:lnTo>
                    <a:pt x="184952" y="29043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8" name="Freihandform 14">
              <a:extLst>
                <a:ext uri="{FF2B5EF4-FFF2-40B4-BE49-F238E27FC236}">
                  <a16:creationId xmlns:a16="http://schemas.microsoft.com/office/drawing/2014/main" id="{E57EC58B-2D5D-4877-9B03-E31621E4FFDE}"/>
                </a:ext>
              </a:extLst>
            </p:cNvPr>
            <p:cNvSpPr/>
            <p:nvPr/>
          </p:nvSpPr>
          <p:spPr bwMode="invGray">
            <a:xfrm>
              <a:off x="1182623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665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4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9" name="Freihandform 15">
              <a:extLst>
                <a:ext uri="{FF2B5EF4-FFF2-40B4-BE49-F238E27FC236}">
                  <a16:creationId xmlns:a16="http://schemas.microsoft.com/office/drawing/2014/main" id="{3B593BEE-0095-4972-88AF-BE89E168AFD9}"/>
                </a:ext>
              </a:extLst>
            </p:cNvPr>
            <p:cNvSpPr/>
            <p:nvPr/>
          </p:nvSpPr>
          <p:spPr bwMode="invGray">
            <a:xfrm>
              <a:off x="1232902" y="287797"/>
              <a:ext cx="43821" cy="66974"/>
            </a:xfrm>
            <a:custGeom>
              <a:avLst/>
              <a:gdLst>
                <a:gd name="connsiteX0" fmla="*/ 151739 w 200417"/>
                <a:gd name="connsiteY0" fmla="*/ 297738 h 306306"/>
                <a:gd name="connsiteX1" fmla="*/ 187234 w 200417"/>
                <a:gd name="connsiteY1" fmla="*/ 271152 h 306306"/>
                <a:gd name="connsiteX2" fmla="*/ 200417 w 200417"/>
                <a:gd name="connsiteY2" fmla="*/ 225414 h 306306"/>
                <a:gd name="connsiteX3" fmla="*/ 200417 w 200417"/>
                <a:gd name="connsiteY3" fmla="*/ 2772 h 306306"/>
                <a:gd name="connsiteX4" fmla="*/ 158585 w 200417"/>
                <a:gd name="connsiteY4" fmla="*/ 2772 h 306306"/>
                <a:gd name="connsiteX5" fmla="*/ 158585 w 200417"/>
                <a:gd name="connsiteY5" fmla="*/ 38052 h 306306"/>
                <a:gd name="connsiteX6" fmla="*/ 155415 w 200417"/>
                <a:gd name="connsiteY6" fmla="*/ 38052 h 306306"/>
                <a:gd name="connsiteX7" fmla="*/ 144513 w 200417"/>
                <a:gd name="connsiteY7" fmla="*/ 22302 h 306306"/>
                <a:gd name="connsiteX8" fmla="*/ 124865 w 200417"/>
                <a:gd name="connsiteY8" fmla="*/ 6678 h 306306"/>
                <a:gd name="connsiteX9" fmla="*/ 91905 w 200417"/>
                <a:gd name="connsiteY9" fmla="*/ 0 h 306306"/>
                <a:gd name="connsiteX10" fmla="*/ 44622 w 200417"/>
                <a:gd name="connsiteY10" fmla="*/ 13230 h 306306"/>
                <a:gd name="connsiteX11" fmla="*/ 11916 w 200417"/>
                <a:gd name="connsiteY11" fmla="*/ 51282 h 306306"/>
                <a:gd name="connsiteX12" fmla="*/ 0 w 200417"/>
                <a:gd name="connsiteY12" fmla="*/ 110880 h 306306"/>
                <a:gd name="connsiteX13" fmla="*/ 12043 w 200417"/>
                <a:gd name="connsiteY13" fmla="*/ 169344 h 306306"/>
                <a:gd name="connsiteX14" fmla="*/ 44875 w 200417"/>
                <a:gd name="connsiteY14" fmla="*/ 205254 h 306306"/>
                <a:gd name="connsiteX15" fmla="*/ 91525 w 200417"/>
                <a:gd name="connsiteY15" fmla="*/ 217350 h 306306"/>
                <a:gd name="connsiteX16" fmla="*/ 124231 w 200417"/>
                <a:gd name="connsiteY16" fmla="*/ 211050 h 306306"/>
                <a:gd name="connsiteX17" fmla="*/ 144007 w 200417"/>
                <a:gd name="connsiteY17" fmla="*/ 196308 h 306306"/>
                <a:gd name="connsiteX18" fmla="*/ 155035 w 200417"/>
                <a:gd name="connsiteY18" fmla="*/ 180810 h 306306"/>
                <a:gd name="connsiteX19" fmla="*/ 157697 w 200417"/>
                <a:gd name="connsiteY19" fmla="*/ 180810 h 306306"/>
                <a:gd name="connsiteX20" fmla="*/ 157697 w 200417"/>
                <a:gd name="connsiteY20" fmla="*/ 223650 h 306306"/>
                <a:gd name="connsiteX21" fmla="*/ 141851 w 200417"/>
                <a:gd name="connsiteY21" fmla="*/ 260568 h 306306"/>
                <a:gd name="connsiteX22" fmla="*/ 101793 w 200417"/>
                <a:gd name="connsiteY22" fmla="*/ 272160 h 306306"/>
                <a:gd name="connsiteX23" fmla="*/ 72891 w 200417"/>
                <a:gd name="connsiteY23" fmla="*/ 267246 h 306306"/>
                <a:gd name="connsiteX24" fmla="*/ 55270 w 200417"/>
                <a:gd name="connsiteY24" fmla="*/ 255276 h 306306"/>
                <a:gd name="connsiteX25" fmla="*/ 44875 w 200417"/>
                <a:gd name="connsiteY25" fmla="*/ 242424 h 306306"/>
                <a:gd name="connsiteX26" fmla="*/ 8240 w 200417"/>
                <a:gd name="connsiteY26" fmla="*/ 257418 h 306306"/>
                <a:gd name="connsiteX27" fmla="*/ 25860 w 200417"/>
                <a:gd name="connsiteY27" fmla="*/ 281610 h 306306"/>
                <a:gd name="connsiteX28" fmla="*/ 56411 w 200417"/>
                <a:gd name="connsiteY28" fmla="*/ 299502 h 306306"/>
                <a:gd name="connsiteX29" fmla="*/ 101286 w 200417"/>
                <a:gd name="connsiteY29" fmla="*/ 306306 h 306306"/>
                <a:gd name="connsiteX30" fmla="*/ 151739 w 200417"/>
                <a:gd name="connsiteY30" fmla="*/ 297738 h 306306"/>
                <a:gd name="connsiteX31" fmla="*/ 151612 w 200417"/>
                <a:gd name="connsiteY31" fmla="*/ 148932 h 306306"/>
                <a:gd name="connsiteX32" fmla="*/ 132217 w 200417"/>
                <a:gd name="connsiteY32" fmla="*/ 173628 h 306306"/>
                <a:gd name="connsiteX33" fmla="*/ 101033 w 200417"/>
                <a:gd name="connsiteY33" fmla="*/ 182196 h 306306"/>
                <a:gd name="connsiteX34" fmla="*/ 69214 w 200417"/>
                <a:gd name="connsiteY34" fmla="*/ 173124 h 306306"/>
                <a:gd name="connsiteX35" fmla="*/ 49819 w 200417"/>
                <a:gd name="connsiteY35" fmla="*/ 147924 h 306306"/>
                <a:gd name="connsiteX36" fmla="*/ 43227 w 200417"/>
                <a:gd name="connsiteY36" fmla="*/ 110376 h 306306"/>
                <a:gd name="connsiteX37" fmla="*/ 49693 w 200417"/>
                <a:gd name="connsiteY37" fmla="*/ 72702 h 306306"/>
                <a:gd name="connsiteX38" fmla="*/ 68961 w 200417"/>
                <a:gd name="connsiteY38" fmla="*/ 45990 h 306306"/>
                <a:gd name="connsiteX39" fmla="*/ 101033 w 200417"/>
                <a:gd name="connsiteY39" fmla="*/ 36162 h 306306"/>
                <a:gd name="connsiteX40" fmla="*/ 132471 w 200417"/>
                <a:gd name="connsiteY40" fmla="*/ 45612 h 306306"/>
                <a:gd name="connsiteX41" fmla="*/ 151739 w 200417"/>
                <a:gd name="connsiteY41" fmla="*/ 71820 h 306306"/>
                <a:gd name="connsiteX42" fmla="*/ 158331 w 200417"/>
                <a:gd name="connsiteY42" fmla="*/ 110502 h 306306"/>
                <a:gd name="connsiteX43" fmla="*/ 151612 w 200417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417" h="306306">
                  <a:moveTo>
                    <a:pt x="151739" y="297738"/>
                  </a:moveTo>
                  <a:cubicBezTo>
                    <a:pt x="166571" y="291942"/>
                    <a:pt x="178487" y="283122"/>
                    <a:pt x="187234" y="271152"/>
                  </a:cubicBezTo>
                  <a:cubicBezTo>
                    <a:pt x="195980" y="259182"/>
                    <a:pt x="200417" y="243936"/>
                    <a:pt x="200417" y="225414"/>
                  </a:cubicBezTo>
                  <a:lnTo>
                    <a:pt x="200417" y="2772"/>
                  </a:lnTo>
                  <a:lnTo>
                    <a:pt x="158585" y="2772"/>
                  </a:ln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7" y="196308"/>
                  </a:cubicBezTo>
                  <a:cubicBezTo>
                    <a:pt x="148824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3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20048" y="306306"/>
                    <a:pt x="136781" y="303534"/>
                    <a:pt x="151739" y="297738"/>
                  </a:cubicBezTo>
                  <a:close/>
                  <a:moveTo>
                    <a:pt x="151612" y="148932"/>
                  </a:moveTo>
                  <a:cubicBezTo>
                    <a:pt x="147176" y="159642"/>
                    <a:pt x="140711" y="167832"/>
                    <a:pt x="132217" y="173628"/>
                  </a:cubicBezTo>
                  <a:cubicBezTo>
                    <a:pt x="123724" y="179298"/>
                    <a:pt x="113329" y="182196"/>
                    <a:pt x="101033" y="182196"/>
                  </a:cubicBezTo>
                  <a:cubicBezTo>
                    <a:pt x="88356" y="182196"/>
                    <a:pt x="77708" y="179172"/>
                    <a:pt x="69214" y="173124"/>
                  </a:cubicBezTo>
                  <a:cubicBezTo>
                    <a:pt x="60594" y="167076"/>
                    <a:pt x="54129" y="158634"/>
                    <a:pt x="49819" y="147924"/>
                  </a:cubicBezTo>
                  <a:cubicBezTo>
                    <a:pt x="45383" y="137088"/>
                    <a:pt x="43227" y="124614"/>
                    <a:pt x="43227" y="110376"/>
                  </a:cubicBezTo>
                  <a:cubicBezTo>
                    <a:pt x="43227" y="96516"/>
                    <a:pt x="45383" y="83916"/>
                    <a:pt x="49693" y="72702"/>
                  </a:cubicBezTo>
                  <a:cubicBezTo>
                    <a:pt x="54003" y="61488"/>
                    <a:pt x="60468" y="52542"/>
                    <a:pt x="68961" y="45990"/>
                  </a:cubicBezTo>
                  <a:cubicBezTo>
                    <a:pt x="77454" y="39438"/>
                    <a:pt x="88229" y="36162"/>
                    <a:pt x="101033" y="36162"/>
                  </a:cubicBezTo>
                  <a:cubicBezTo>
                    <a:pt x="113456" y="36162"/>
                    <a:pt x="123977" y="39312"/>
                    <a:pt x="132471" y="45612"/>
                  </a:cubicBezTo>
                  <a:cubicBezTo>
                    <a:pt x="140964" y="51912"/>
                    <a:pt x="147302" y="60606"/>
                    <a:pt x="151739" y="71820"/>
                  </a:cubicBezTo>
                  <a:cubicBezTo>
                    <a:pt x="156049" y="83034"/>
                    <a:pt x="158331" y="95886"/>
                    <a:pt x="158331" y="110502"/>
                  </a:cubicBezTo>
                  <a:cubicBezTo>
                    <a:pt x="158204" y="125370"/>
                    <a:pt x="156049" y="138222"/>
                    <a:pt x="151612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0" name="Freihandform 16">
              <a:extLst>
                <a:ext uri="{FF2B5EF4-FFF2-40B4-BE49-F238E27FC236}">
                  <a16:creationId xmlns:a16="http://schemas.microsoft.com/office/drawing/2014/main" id="{61DB7D41-1F3C-4577-8DF3-381E205FC7E3}"/>
                </a:ext>
              </a:extLst>
            </p:cNvPr>
            <p:cNvSpPr/>
            <p:nvPr/>
          </p:nvSpPr>
          <p:spPr bwMode="invGray">
            <a:xfrm>
              <a:off x="1288032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3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057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1" name="Freihandform 17">
              <a:extLst>
                <a:ext uri="{FF2B5EF4-FFF2-40B4-BE49-F238E27FC236}">
                  <a16:creationId xmlns:a16="http://schemas.microsoft.com/office/drawing/2014/main" id="{5FAB5E34-4947-4A96-B073-3D90C2A47D69}"/>
                </a:ext>
              </a:extLst>
            </p:cNvPr>
            <p:cNvSpPr/>
            <p:nvPr/>
          </p:nvSpPr>
          <p:spPr bwMode="invGray">
            <a:xfrm>
              <a:off x="1289196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2" name="Freihandform 18">
              <a:extLst>
                <a:ext uri="{FF2B5EF4-FFF2-40B4-BE49-F238E27FC236}">
                  <a16:creationId xmlns:a16="http://schemas.microsoft.com/office/drawing/2014/main" id="{E901DCE8-17C4-4D0F-A0D3-C842B85B34DF}"/>
                </a:ext>
              </a:extLst>
            </p:cNvPr>
            <p:cNvSpPr/>
            <p:nvPr/>
          </p:nvSpPr>
          <p:spPr bwMode="invGray">
            <a:xfrm>
              <a:off x="1311148" y="287769"/>
              <a:ext cx="39941" cy="48240"/>
            </a:xfrm>
            <a:custGeom>
              <a:avLst/>
              <a:gdLst>
                <a:gd name="connsiteX0" fmla="*/ 42340 w 182670"/>
                <a:gd name="connsiteY0" fmla="*/ 91350 h 220625"/>
                <a:gd name="connsiteX1" fmla="*/ 48932 w 182670"/>
                <a:gd name="connsiteY1" fmla="*/ 61740 h 220625"/>
                <a:gd name="connsiteX2" fmla="*/ 67059 w 182670"/>
                <a:gd name="connsiteY2" fmla="*/ 43092 h 220625"/>
                <a:gd name="connsiteX3" fmla="*/ 93427 w 182670"/>
                <a:gd name="connsiteY3" fmla="*/ 36666 h 220625"/>
                <a:gd name="connsiteX4" fmla="*/ 127527 w 182670"/>
                <a:gd name="connsiteY4" fmla="*/ 50022 h 220625"/>
                <a:gd name="connsiteX5" fmla="*/ 139950 w 182670"/>
                <a:gd name="connsiteY5" fmla="*/ 87066 h 220625"/>
                <a:gd name="connsiteX6" fmla="*/ 139950 w 182670"/>
                <a:gd name="connsiteY6" fmla="*/ 220500 h 220625"/>
                <a:gd name="connsiteX7" fmla="*/ 182670 w 182670"/>
                <a:gd name="connsiteY7" fmla="*/ 220500 h 220625"/>
                <a:gd name="connsiteX8" fmla="*/ 182670 w 182670"/>
                <a:gd name="connsiteY8" fmla="*/ 82152 h 220625"/>
                <a:gd name="connsiteX9" fmla="*/ 173416 w 182670"/>
                <a:gd name="connsiteY9" fmla="*/ 36918 h 220625"/>
                <a:gd name="connsiteX10" fmla="*/ 147302 w 182670"/>
                <a:gd name="connsiteY10" fmla="*/ 9324 h 220625"/>
                <a:gd name="connsiteX11" fmla="*/ 108132 w 182670"/>
                <a:gd name="connsiteY11" fmla="*/ 0 h 220625"/>
                <a:gd name="connsiteX12" fmla="*/ 67313 w 182670"/>
                <a:gd name="connsiteY12" fmla="*/ 10458 h 220625"/>
                <a:gd name="connsiteX13" fmla="*/ 43608 w 182670"/>
                <a:gd name="connsiteY13" fmla="*/ 38304 h 220625"/>
                <a:gd name="connsiteX14" fmla="*/ 40945 w 182670"/>
                <a:gd name="connsiteY14" fmla="*/ 38304 h 220625"/>
                <a:gd name="connsiteX15" fmla="*/ 40945 w 182670"/>
                <a:gd name="connsiteY15" fmla="*/ 2898 h 220625"/>
                <a:gd name="connsiteX16" fmla="*/ 0 w 182670"/>
                <a:gd name="connsiteY16" fmla="*/ 2898 h 220625"/>
                <a:gd name="connsiteX17" fmla="*/ 0 w 182670"/>
                <a:gd name="connsiteY17" fmla="*/ 220626 h 220625"/>
                <a:gd name="connsiteX18" fmla="*/ 42720 w 182670"/>
                <a:gd name="connsiteY18" fmla="*/ 220626 h 220625"/>
                <a:gd name="connsiteX19" fmla="*/ 42720 w 182670"/>
                <a:gd name="connsiteY19" fmla="*/ 91350 h 22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625">
                  <a:moveTo>
                    <a:pt x="42340" y="91350"/>
                  </a:moveTo>
                  <a:cubicBezTo>
                    <a:pt x="42340" y="79884"/>
                    <a:pt x="44495" y="69930"/>
                    <a:pt x="48932" y="61740"/>
                  </a:cubicBezTo>
                  <a:cubicBezTo>
                    <a:pt x="53368" y="53550"/>
                    <a:pt x="59326" y="47376"/>
                    <a:pt x="67059" y="43092"/>
                  </a:cubicBezTo>
                  <a:cubicBezTo>
                    <a:pt x="74792" y="38808"/>
                    <a:pt x="83539" y="36666"/>
                    <a:pt x="93427" y="36666"/>
                  </a:cubicBezTo>
                  <a:cubicBezTo>
                    <a:pt x="107878" y="36666"/>
                    <a:pt x="119287" y="41076"/>
                    <a:pt x="127527" y="50022"/>
                  </a:cubicBezTo>
                  <a:cubicBezTo>
                    <a:pt x="135766" y="58968"/>
                    <a:pt x="139950" y="71316"/>
                    <a:pt x="139950" y="87066"/>
                  </a:cubicBezTo>
                  <a:lnTo>
                    <a:pt x="139950" y="220500"/>
                  </a:lnTo>
                  <a:lnTo>
                    <a:pt x="182670" y="220500"/>
                  </a:lnTo>
                  <a:lnTo>
                    <a:pt x="182670" y="82152"/>
                  </a:lnTo>
                  <a:cubicBezTo>
                    <a:pt x="182670" y="64260"/>
                    <a:pt x="179627" y="49140"/>
                    <a:pt x="173416" y="36918"/>
                  </a:cubicBezTo>
                  <a:cubicBezTo>
                    <a:pt x="167205" y="24696"/>
                    <a:pt x="158585" y="15498"/>
                    <a:pt x="147302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1" y="26712"/>
                    <a:pt x="43608" y="38304"/>
                  </a:cubicBezTo>
                  <a:lnTo>
                    <a:pt x="40945" y="38304"/>
                  </a:lnTo>
                  <a:lnTo>
                    <a:pt x="40945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0" y="220626"/>
                  </a:lnTo>
                  <a:lnTo>
                    <a:pt x="42720" y="9135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3" name="Freihandform 19">
              <a:extLst>
                <a:ext uri="{FF2B5EF4-FFF2-40B4-BE49-F238E27FC236}">
                  <a16:creationId xmlns:a16="http://schemas.microsoft.com/office/drawing/2014/main" id="{7B705228-D5D6-44EB-AB29-6486B6E45C00}"/>
                </a:ext>
              </a:extLst>
            </p:cNvPr>
            <p:cNvSpPr/>
            <p:nvPr/>
          </p:nvSpPr>
          <p:spPr bwMode="invGray">
            <a:xfrm>
              <a:off x="1361400" y="287852"/>
              <a:ext cx="43350" cy="49149"/>
            </a:xfrm>
            <a:custGeom>
              <a:avLst/>
              <a:gdLst>
                <a:gd name="connsiteX0" fmla="*/ 48424 w 198262"/>
                <a:gd name="connsiteY0" fmla="*/ 210924 h 224783"/>
                <a:gd name="connsiteX1" fmla="*/ 104202 w 198262"/>
                <a:gd name="connsiteY1" fmla="*/ 224784 h 224783"/>
                <a:gd name="connsiteX2" fmla="*/ 146922 w 198262"/>
                <a:gd name="connsiteY2" fmla="*/ 217476 h 224783"/>
                <a:gd name="connsiteX3" fmla="*/ 178106 w 198262"/>
                <a:gd name="connsiteY3" fmla="*/ 196938 h 224783"/>
                <a:gd name="connsiteX4" fmla="*/ 195473 w 198262"/>
                <a:gd name="connsiteY4" fmla="*/ 165942 h 224783"/>
                <a:gd name="connsiteX5" fmla="*/ 155162 w 198262"/>
                <a:gd name="connsiteY5" fmla="*/ 158760 h 224783"/>
                <a:gd name="connsiteX6" fmla="*/ 144006 w 198262"/>
                <a:gd name="connsiteY6" fmla="*/ 175896 h 224783"/>
                <a:gd name="connsiteX7" fmla="*/ 126766 w 198262"/>
                <a:gd name="connsiteY7" fmla="*/ 186354 h 224783"/>
                <a:gd name="connsiteX8" fmla="*/ 104709 w 198262"/>
                <a:gd name="connsiteY8" fmla="*/ 189882 h 224783"/>
                <a:gd name="connsiteX9" fmla="*/ 72003 w 198262"/>
                <a:gd name="connsiteY9" fmla="*/ 181818 h 224783"/>
                <a:gd name="connsiteX10" fmla="*/ 50326 w 198262"/>
                <a:gd name="connsiteY10" fmla="*/ 158508 h 224783"/>
                <a:gd name="connsiteX11" fmla="*/ 42847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424 w 198262"/>
                <a:gd name="connsiteY22" fmla="*/ 210924 h 224783"/>
                <a:gd name="connsiteX23" fmla="*/ 49566 w 198262"/>
                <a:gd name="connsiteY23" fmla="*/ 66150 h 224783"/>
                <a:gd name="connsiteX24" fmla="*/ 70102 w 198262"/>
                <a:gd name="connsiteY24" fmla="*/ 43470 h 224783"/>
                <a:gd name="connsiteX25" fmla="*/ 101413 w 198262"/>
                <a:gd name="connsiteY25" fmla="*/ 34776 h 224783"/>
                <a:gd name="connsiteX26" fmla="*/ 130316 w 198262"/>
                <a:gd name="connsiteY26" fmla="*/ 42336 h 224783"/>
                <a:gd name="connsiteX27" fmla="*/ 149457 w 198262"/>
                <a:gd name="connsiteY27" fmla="*/ 62874 h 224783"/>
                <a:gd name="connsiteX28" fmla="*/ 156303 w 198262"/>
                <a:gd name="connsiteY28" fmla="*/ 92610 h 224783"/>
                <a:gd name="connsiteX29" fmla="*/ 42847 w 198262"/>
                <a:gd name="connsiteY29" fmla="*/ 92610 h 224783"/>
                <a:gd name="connsiteX30" fmla="*/ 49566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424" y="210924"/>
                  </a:moveTo>
                  <a:cubicBezTo>
                    <a:pt x="64017" y="220122"/>
                    <a:pt x="82525" y="224784"/>
                    <a:pt x="104202" y="224784"/>
                  </a:cubicBezTo>
                  <a:cubicBezTo>
                    <a:pt x="120174" y="224784"/>
                    <a:pt x="134372" y="222390"/>
                    <a:pt x="146922" y="217476"/>
                  </a:cubicBezTo>
                  <a:cubicBezTo>
                    <a:pt x="159472" y="212562"/>
                    <a:pt x="169867" y="205758"/>
                    <a:pt x="178106" y="196938"/>
                  </a:cubicBezTo>
                  <a:cubicBezTo>
                    <a:pt x="186473" y="188118"/>
                    <a:pt x="192178" y="177786"/>
                    <a:pt x="195473" y="165942"/>
                  </a:cubicBezTo>
                  <a:lnTo>
                    <a:pt x="155162" y="158760"/>
                  </a:lnTo>
                  <a:cubicBezTo>
                    <a:pt x="152626" y="165564"/>
                    <a:pt x="148823" y="171234"/>
                    <a:pt x="144006" y="175896"/>
                  </a:cubicBezTo>
                  <a:cubicBezTo>
                    <a:pt x="139189" y="180558"/>
                    <a:pt x="133358" y="183960"/>
                    <a:pt x="126766" y="186354"/>
                  </a:cubicBezTo>
                  <a:cubicBezTo>
                    <a:pt x="120048" y="188622"/>
                    <a:pt x="112695" y="189882"/>
                    <a:pt x="104709" y="189882"/>
                  </a:cubicBezTo>
                  <a:cubicBezTo>
                    <a:pt x="92286" y="189882"/>
                    <a:pt x="81384" y="187236"/>
                    <a:pt x="72003" y="181818"/>
                  </a:cubicBezTo>
                  <a:cubicBezTo>
                    <a:pt x="62749" y="176526"/>
                    <a:pt x="55397" y="168714"/>
                    <a:pt x="50326" y="158508"/>
                  </a:cubicBezTo>
                  <a:cubicBezTo>
                    <a:pt x="45509" y="149058"/>
                    <a:pt x="43227" y="137592"/>
                    <a:pt x="42847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0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0916" y="188748"/>
                    <a:pt x="32959" y="201726"/>
                    <a:pt x="48424" y="210924"/>
                  </a:cubicBezTo>
                  <a:close/>
                  <a:moveTo>
                    <a:pt x="49566" y="66150"/>
                  </a:moveTo>
                  <a:cubicBezTo>
                    <a:pt x="54382" y="56826"/>
                    <a:pt x="61228" y="49266"/>
                    <a:pt x="70102" y="43470"/>
                  </a:cubicBezTo>
                  <a:cubicBezTo>
                    <a:pt x="78975" y="37674"/>
                    <a:pt x="89370" y="34776"/>
                    <a:pt x="101413" y="34776"/>
                  </a:cubicBezTo>
                  <a:cubicBezTo>
                    <a:pt x="112442" y="34776"/>
                    <a:pt x="122076" y="37296"/>
                    <a:pt x="130316" y="42336"/>
                  </a:cubicBezTo>
                  <a:cubicBezTo>
                    <a:pt x="138555" y="47376"/>
                    <a:pt x="144894" y="54180"/>
                    <a:pt x="149457" y="62874"/>
                  </a:cubicBezTo>
                  <a:cubicBezTo>
                    <a:pt x="154021" y="71568"/>
                    <a:pt x="156303" y="81396"/>
                    <a:pt x="156303" y="92610"/>
                  </a:cubicBezTo>
                  <a:lnTo>
                    <a:pt x="42847" y="92610"/>
                  </a:lnTo>
                  <a:cubicBezTo>
                    <a:pt x="43354" y="83160"/>
                    <a:pt x="45382" y="74340"/>
                    <a:pt x="49566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4" name="Freihandform 20">
              <a:extLst>
                <a:ext uri="{FF2B5EF4-FFF2-40B4-BE49-F238E27FC236}">
                  <a16:creationId xmlns:a16="http://schemas.microsoft.com/office/drawing/2014/main" id="{21E22395-C023-4230-9959-623017CB2A5A}"/>
                </a:ext>
              </a:extLst>
            </p:cNvPr>
            <p:cNvSpPr/>
            <p:nvPr/>
          </p:nvSpPr>
          <p:spPr bwMode="invGray">
            <a:xfrm>
              <a:off x="1412954" y="287852"/>
              <a:ext cx="43350" cy="49149"/>
            </a:xfrm>
            <a:custGeom>
              <a:avLst/>
              <a:gdLst>
                <a:gd name="connsiteX0" fmla="*/ 48552 w 198262"/>
                <a:gd name="connsiteY0" fmla="*/ 210924 h 224783"/>
                <a:gd name="connsiteX1" fmla="*/ 104329 w 198262"/>
                <a:gd name="connsiteY1" fmla="*/ 224784 h 224783"/>
                <a:gd name="connsiteX2" fmla="*/ 147049 w 198262"/>
                <a:gd name="connsiteY2" fmla="*/ 217476 h 224783"/>
                <a:gd name="connsiteX3" fmla="*/ 178234 w 198262"/>
                <a:gd name="connsiteY3" fmla="*/ 196938 h 224783"/>
                <a:gd name="connsiteX4" fmla="*/ 195601 w 198262"/>
                <a:gd name="connsiteY4" fmla="*/ 165942 h 224783"/>
                <a:gd name="connsiteX5" fmla="*/ 155289 w 198262"/>
                <a:gd name="connsiteY5" fmla="*/ 158760 h 224783"/>
                <a:gd name="connsiteX6" fmla="*/ 144133 w 198262"/>
                <a:gd name="connsiteY6" fmla="*/ 175896 h 224783"/>
                <a:gd name="connsiteX7" fmla="*/ 126893 w 198262"/>
                <a:gd name="connsiteY7" fmla="*/ 186354 h 224783"/>
                <a:gd name="connsiteX8" fmla="*/ 104836 w 198262"/>
                <a:gd name="connsiteY8" fmla="*/ 189882 h 224783"/>
                <a:gd name="connsiteX9" fmla="*/ 72130 w 198262"/>
                <a:gd name="connsiteY9" fmla="*/ 181818 h 224783"/>
                <a:gd name="connsiteX10" fmla="*/ 50453 w 198262"/>
                <a:gd name="connsiteY10" fmla="*/ 158508 h 224783"/>
                <a:gd name="connsiteX11" fmla="*/ 42974 w 198262"/>
                <a:gd name="connsiteY11" fmla="*/ 124362 h 224783"/>
                <a:gd name="connsiteX12" fmla="*/ 198262 w 198262"/>
                <a:gd name="connsiteY12" fmla="*/ 124362 h 224783"/>
                <a:gd name="connsiteX13" fmla="*/ 198262 w 198262"/>
                <a:gd name="connsiteY13" fmla="*/ 109368 h 224783"/>
                <a:gd name="connsiteX14" fmla="*/ 190276 w 198262"/>
                <a:gd name="connsiteY14" fmla="*/ 58968 h 224783"/>
                <a:gd name="connsiteX15" fmla="*/ 168472 w 198262"/>
                <a:gd name="connsiteY15" fmla="*/ 25200 h 224783"/>
                <a:gd name="connsiteX16" fmla="*/ 137288 w 198262"/>
                <a:gd name="connsiteY16" fmla="*/ 6048 h 224783"/>
                <a:gd name="connsiteX17" fmla="*/ 101286 w 198262"/>
                <a:gd name="connsiteY17" fmla="*/ 0 h 224783"/>
                <a:gd name="connsiteX18" fmla="*/ 48044 w 198262"/>
                <a:gd name="connsiteY18" fmla="*/ 14364 h 224783"/>
                <a:gd name="connsiteX19" fmla="*/ 12677 w 198262"/>
                <a:gd name="connsiteY19" fmla="*/ 54180 h 224783"/>
                <a:gd name="connsiteX20" fmla="*/ 0 w 198262"/>
                <a:gd name="connsiteY20" fmla="*/ 113148 h 224783"/>
                <a:gd name="connsiteX21" fmla="*/ 12677 w 198262"/>
                <a:gd name="connsiteY21" fmla="*/ 172242 h 224783"/>
                <a:gd name="connsiteX22" fmla="*/ 48552 w 198262"/>
                <a:gd name="connsiteY22" fmla="*/ 210924 h 224783"/>
                <a:gd name="connsiteX23" fmla="*/ 49693 w 198262"/>
                <a:gd name="connsiteY23" fmla="*/ 66150 h 224783"/>
                <a:gd name="connsiteX24" fmla="*/ 70229 w 198262"/>
                <a:gd name="connsiteY24" fmla="*/ 43470 h 224783"/>
                <a:gd name="connsiteX25" fmla="*/ 101540 w 198262"/>
                <a:gd name="connsiteY25" fmla="*/ 34776 h 224783"/>
                <a:gd name="connsiteX26" fmla="*/ 130443 w 198262"/>
                <a:gd name="connsiteY26" fmla="*/ 42336 h 224783"/>
                <a:gd name="connsiteX27" fmla="*/ 149584 w 198262"/>
                <a:gd name="connsiteY27" fmla="*/ 62874 h 224783"/>
                <a:gd name="connsiteX28" fmla="*/ 156430 w 198262"/>
                <a:gd name="connsiteY28" fmla="*/ 92610 h 224783"/>
                <a:gd name="connsiteX29" fmla="*/ 42974 w 198262"/>
                <a:gd name="connsiteY29" fmla="*/ 92610 h 224783"/>
                <a:gd name="connsiteX30" fmla="*/ 49693 w 198262"/>
                <a:gd name="connsiteY30" fmla="*/ 66150 h 224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262" h="224783">
                  <a:moveTo>
                    <a:pt x="48552" y="210924"/>
                  </a:moveTo>
                  <a:cubicBezTo>
                    <a:pt x="64144" y="220122"/>
                    <a:pt x="82652" y="224784"/>
                    <a:pt x="104329" y="224784"/>
                  </a:cubicBezTo>
                  <a:cubicBezTo>
                    <a:pt x="120301" y="224784"/>
                    <a:pt x="134499" y="222390"/>
                    <a:pt x="147049" y="217476"/>
                  </a:cubicBezTo>
                  <a:cubicBezTo>
                    <a:pt x="159599" y="212562"/>
                    <a:pt x="169993" y="205758"/>
                    <a:pt x="178234" y="196938"/>
                  </a:cubicBezTo>
                  <a:cubicBezTo>
                    <a:pt x="186600" y="188118"/>
                    <a:pt x="192304" y="177786"/>
                    <a:pt x="195601" y="165942"/>
                  </a:cubicBezTo>
                  <a:lnTo>
                    <a:pt x="155289" y="158760"/>
                  </a:lnTo>
                  <a:cubicBezTo>
                    <a:pt x="152753" y="165564"/>
                    <a:pt x="148950" y="171234"/>
                    <a:pt x="144133" y="175896"/>
                  </a:cubicBezTo>
                  <a:cubicBezTo>
                    <a:pt x="139316" y="180558"/>
                    <a:pt x="133485" y="183960"/>
                    <a:pt x="126893" y="186354"/>
                  </a:cubicBezTo>
                  <a:cubicBezTo>
                    <a:pt x="120174" y="188622"/>
                    <a:pt x="112822" y="189882"/>
                    <a:pt x="104836" y="189882"/>
                  </a:cubicBezTo>
                  <a:cubicBezTo>
                    <a:pt x="92413" y="189882"/>
                    <a:pt x="81511" y="187236"/>
                    <a:pt x="72130" y="181818"/>
                  </a:cubicBezTo>
                  <a:cubicBezTo>
                    <a:pt x="62876" y="176526"/>
                    <a:pt x="55524" y="168714"/>
                    <a:pt x="50453" y="158508"/>
                  </a:cubicBezTo>
                  <a:cubicBezTo>
                    <a:pt x="45636" y="149058"/>
                    <a:pt x="43354" y="137592"/>
                    <a:pt x="42974" y="124362"/>
                  </a:cubicBezTo>
                  <a:lnTo>
                    <a:pt x="198262" y="124362"/>
                  </a:lnTo>
                  <a:lnTo>
                    <a:pt x="198262" y="109368"/>
                  </a:lnTo>
                  <a:cubicBezTo>
                    <a:pt x="198262" y="89586"/>
                    <a:pt x="195601" y="72828"/>
                    <a:pt x="190276" y="58968"/>
                  </a:cubicBezTo>
                  <a:cubicBezTo>
                    <a:pt x="184952" y="45108"/>
                    <a:pt x="177726" y="33894"/>
                    <a:pt x="168472" y="25200"/>
                  </a:cubicBez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8748"/>
                    <a:pt x="33086" y="201726"/>
                    <a:pt x="48552" y="210924"/>
                  </a:cubicBezTo>
                  <a:close/>
                  <a:moveTo>
                    <a:pt x="49693" y="66150"/>
                  </a:moveTo>
                  <a:cubicBezTo>
                    <a:pt x="54510" y="56826"/>
                    <a:pt x="61355" y="49266"/>
                    <a:pt x="70229" y="43470"/>
                  </a:cubicBezTo>
                  <a:cubicBezTo>
                    <a:pt x="79102" y="37674"/>
                    <a:pt x="89497" y="34776"/>
                    <a:pt x="101540" y="34776"/>
                  </a:cubicBezTo>
                  <a:cubicBezTo>
                    <a:pt x="112568" y="34776"/>
                    <a:pt x="122203" y="37296"/>
                    <a:pt x="130443" y="42336"/>
                  </a:cubicBezTo>
                  <a:cubicBezTo>
                    <a:pt x="138682" y="47376"/>
                    <a:pt x="145021" y="54180"/>
                    <a:pt x="149584" y="62874"/>
                  </a:cubicBezTo>
                  <a:cubicBezTo>
                    <a:pt x="154148" y="71568"/>
                    <a:pt x="156430" y="81396"/>
                    <a:pt x="156430" y="92610"/>
                  </a:cubicBezTo>
                  <a:lnTo>
                    <a:pt x="42974" y="92610"/>
                  </a:lnTo>
                  <a:cubicBezTo>
                    <a:pt x="43481" y="83160"/>
                    <a:pt x="45509" y="74340"/>
                    <a:pt x="49693" y="6615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5" name="Freihandform 21">
              <a:extLst>
                <a:ext uri="{FF2B5EF4-FFF2-40B4-BE49-F238E27FC236}">
                  <a16:creationId xmlns:a16="http://schemas.microsoft.com/office/drawing/2014/main" id="{1E2BB517-8F29-4022-AE5A-40B42F664F3A}"/>
                </a:ext>
              </a:extLst>
            </p:cNvPr>
            <p:cNvSpPr/>
            <p:nvPr/>
          </p:nvSpPr>
          <p:spPr bwMode="invGray">
            <a:xfrm>
              <a:off x="1466698" y="287687"/>
              <a:ext cx="25638" cy="48322"/>
            </a:xfrm>
            <a:custGeom>
              <a:avLst/>
              <a:gdLst>
                <a:gd name="connsiteX0" fmla="*/ 42720 w 117258"/>
                <a:gd name="connsiteY0" fmla="*/ 88074 h 221003"/>
                <a:gd name="connsiteX1" fmla="*/ 49566 w 117258"/>
                <a:gd name="connsiteY1" fmla="*/ 62748 h 221003"/>
                <a:gd name="connsiteX2" fmla="*/ 68200 w 117258"/>
                <a:gd name="connsiteY2" fmla="*/ 45360 h 221003"/>
                <a:gd name="connsiteX3" fmla="*/ 95075 w 117258"/>
                <a:gd name="connsiteY3" fmla="*/ 39060 h 221003"/>
                <a:gd name="connsiteX4" fmla="*/ 108132 w 117258"/>
                <a:gd name="connsiteY4" fmla="*/ 39942 h 221003"/>
                <a:gd name="connsiteX5" fmla="*/ 117259 w 117258"/>
                <a:gd name="connsiteY5" fmla="*/ 41580 h 221003"/>
                <a:gd name="connsiteX6" fmla="*/ 117259 w 117258"/>
                <a:gd name="connsiteY6" fmla="*/ 1008 h 221003"/>
                <a:gd name="connsiteX7" fmla="*/ 108639 w 117258"/>
                <a:gd name="connsiteY7" fmla="*/ 252 h 221003"/>
                <a:gd name="connsiteX8" fmla="*/ 99131 w 117258"/>
                <a:gd name="connsiteY8" fmla="*/ 0 h 221003"/>
                <a:gd name="connsiteX9" fmla="*/ 64651 w 117258"/>
                <a:gd name="connsiteY9" fmla="*/ 10080 h 221003"/>
                <a:gd name="connsiteX10" fmla="*/ 43481 w 117258"/>
                <a:gd name="connsiteY10" fmla="*/ 37800 h 221003"/>
                <a:gd name="connsiteX11" fmla="*/ 41199 w 117258"/>
                <a:gd name="connsiteY11" fmla="*/ 37800 h 221003"/>
                <a:gd name="connsiteX12" fmla="*/ 41199 w 117258"/>
                <a:gd name="connsiteY12" fmla="*/ 3276 h 221003"/>
                <a:gd name="connsiteX13" fmla="*/ 0 w 117258"/>
                <a:gd name="connsiteY13" fmla="*/ 3276 h 221003"/>
                <a:gd name="connsiteX14" fmla="*/ 0 w 117258"/>
                <a:gd name="connsiteY14" fmla="*/ 221004 h 221003"/>
                <a:gd name="connsiteX15" fmla="*/ 42720 w 117258"/>
                <a:gd name="connsiteY15" fmla="*/ 221004 h 221003"/>
                <a:gd name="connsiteX16" fmla="*/ 42720 w 117258"/>
                <a:gd name="connsiteY16" fmla="*/ 88074 h 221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3">
                  <a:moveTo>
                    <a:pt x="42720" y="88074"/>
                  </a:move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6" name="Freihandform 22">
              <a:extLst>
                <a:ext uri="{FF2B5EF4-FFF2-40B4-BE49-F238E27FC236}">
                  <a16:creationId xmlns:a16="http://schemas.microsoft.com/office/drawing/2014/main" id="{0C728F05-57FE-4401-8837-450B15131652}"/>
                </a:ext>
              </a:extLst>
            </p:cNvPr>
            <p:cNvSpPr/>
            <p:nvPr/>
          </p:nvSpPr>
          <p:spPr bwMode="invGray">
            <a:xfrm>
              <a:off x="1500430" y="288403"/>
              <a:ext cx="9341" cy="47606"/>
            </a:xfrm>
            <a:custGeom>
              <a:avLst/>
              <a:gdLst>
                <a:gd name="connsiteX0" fmla="*/ 0 w 42720"/>
                <a:gd name="connsiteY0" fmla="*/ 0 h 217728"/>
                <a:gd name="connsiteX1" fmla="*/ 42720 w 42720"/>
                <a:gd name="connsiteY1" fmla="*/ 0 h 217728"/>
                <a:gd name="connsiteX2" fmla="*/ 42720 w 42720"/>
                <a:gd name="connsiteY2" fmla="*/ 217728 h 217728"/>
                <a:gd name="connsiteX3" fmla="*/ 0 w 42720"/>
                <a:gd name="connsiteY3" fmla="*/ 217728 h 21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17728">
                  <a:moveTo>
                    <a:pt x="0" y="0"/>
                  </a:moveTo>
                  <a:lnTo>
                    <a:pt x="42720" y="0"/>
                  </a:lnTo>
                  <a:lnTo>
                    <a:pt x="42720" y="217728"/>
                  </a:lnTo>
                  <a:lnTo>
                    <a:pt x="0" y="21772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7" name="Freihandform 23">
              <a:extLst>
                <a:ext uri="{FF2B5EF4-FFF2-40B4-BE49-F238E27FC236}">
                  <a16:creationId xmlns:a16="http://schemas.microsoft.com/office/drawing/2014/main" id="{139BA451-36CE-4C7D-8CDD-B97DEAC6048F}"/>
                </a:ext>
              </a:extLst>
            </p:cNvPr>
            <p:cNvSpPr/>
            <p:nvPr/>
          </p:nvSpPr>
          <p:spPr bwMode="invGray">
            <a:xfrm>
              <a:off x="1499266" y="270000"/>
              <a:ext cx="11752" cy="11075"/>
            </a:xfrm>
            <a:custGeom>
              <a:avLst/>
              <a:gdLst>
                <a:gd name="connsiteX0" fmla="*/ 26874 w 53748"/>
                <a:gd name="connsiteY0" fmla="*/ 50652 h 50651"/>
                <a:gd name="connsiteX1" fmla="*/ 45889 w 53748"/>
                <a:gd name="connsiteY1" fmla="*/ 43218 h 50651"/>
                <a:gd name="connsiteX2" fmla="*/ 53749 w 53748"/>
                <a:gd name="connsiteY2" fmla="*/ 25452 h 50651"/>
                <a:gd name="connsiteX3" fmla="*/ 45889 w 53748"/>
                <a:gd name="connsiteY3" fmla="*/ 7560 h 50651"/>
                <a:gd name="connsiteX4" fmla="*/ 26874 w 53748"/>
                <a:gd name="connsiteY4" fmla="*/ 0 h 50651"/>
                <a:gd name="connsiteX5" fmla="*/ 7859 w 53748"/>
                <a:gd name="connsiteY5" fmla="*/ 7434 h 50651"/>
                <a:gd name="connsiteX6" fmla="*/ 0 w 53748"/>
                <a:gd name="connsiteY6" fmla="*/ 25326 h 50651"/>
                <a:gd name="connsiteX7" fmla="*/ 7859 w 53748"/>
                <a:gd name="connsiteY7" fmla="*/ 43092 h 50651"/>
                <a:gd name="connsiteX8" fmla="*/ 26874 w 53748"/>
                <a:gd name="connsiteY8" fmla="*/ 50652 h 50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748" h="50651">
                  <a:moveTo>
                    <a:pt x="26874" y="50652"/>
                  </a:moveTo>
                  <a:cubicBezTo>
                    <a:pt x="34354" y="50652"/>
                    <a:pt x="40692" y="48132"/>
                    <a:pt x="45889" y="43218"/>
                  </a:cubicBezTo>
                  <a:cubicBezTo>
                    <a:pt x="51214" y="38304"/>
                    <a:pt x="53749" y="32382"/>
                    <a:pt x="53749" y="25452"/>
                  </a:cubicBezTo>
                  <a:cubicBezTo>
                    <a:pt x="53749" y="18396"/>
                    <a:pt x="51087" y="12474"/>
                    <a:pt x="45889" y="7560"/>
                  </a:cubicBezTo>
                  <a:cubicBezTo>
                    <a:pt x="40692" y="2520"/>
                    <a:pt x="34354" y="0"/>
                    <a:pt x="26874" y="0"/>
                  </a:cubicBezTo>
                  <a:cubicBezTo>
                    <a:pt x="19395" y="0"/>
                    <a:pt x="13057" y="2520"/>
                    <a:pt x="7859" y="7434"/>
                  </a:cubicBezTo>
                  <a:cubicBezTo>
                    <a:pt x="2535" y="12348"/>
                    <a:pt x="0" y="18396"/>
                    <a:pt x="0" y="25326"/>
                  </a:cubicBezTo>
                  <a:cubicBezTo>
                    <a:pt x="0" y="32256"/>
                    <a:pt x="2662" y="38178"/>
                    <a:pt x="7859" y="43092"/>
                  </a:cubicBezTo>
                  <a:cubicBezTo>
                    <a:pt x="13184" y="48132"/>
                    <a:pt x="19522" y="50652"/>
                    <a:pt x="26874" y="506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8" name="Freihandform 24">
              <a:extLst>
                <a:ext uri="{FF2B5EF4-FFF2-40B4-BE49-F238E27FC236}">
                  <a16:creationId xmlns:a16="http://schemas.microsoft.com/office/drawing/2014/main" id="{249EBBFB-F3E2-46CC-A091-037BADCC2169}"/>
                </a:ext>
              </a:extLst>
            </p:cNvPr>
            <p:cNvSpPr/>
            <p:nvPr/>
          </p:nvSpPr>
          <p:spPr bwMode="invGray">
            <a:xfrm>
              <a:off x="1522355" y="287769"/>
              <a:ext cx="39941" cy="48267"/>
            </a:xfrm>
            <a:custGeom>
              <a:avLst/>
              <a:gdLst>
                <a:gd name="connsiteX0" fmla="*/ 182670 w 182670"/>
                <a:gd name="connsiteY0" fmla="*/ 220752 h 220751"/>
                <a:gd name="connsiteX1" fmla="*/ 182670 w 182670"/>
                <a:gd name="connsiteY1" fmla="*/ 82152 h 220751"/>
                <a:gd name="connsiteX2" fmla="*/ 173416 w 182670"/>
                <a:gd name="connsiteY2" fmla="*/ 36918 h 220751"/>
                <a:gd name="connsiteX3" fmla="*/ 147303 w 182670"/>
                <a:gd name="connsiteY3" fmla="*/ 9324 h 220751"/>
                <a:gd name="connsiteX4" fmla="*/ 108132 w 182670"/>
                <a:gd name="connsiteY4" fmla="*/ 0 h 220751"/>
                <a:gd name="connsiteX5" fmla="*/ 67313 w 182670"/>
                <a:gd name="connsiteY5" fmla="*/ 10458 h 220751"/>
                <a:gd name="connsiteX6" fmla="*/ 43608 w 182670"/>
                <a:gd name="connsiteY6" fmla="*/ 38304 h 220751"/>
                <a:gd name="connsiteX7" fmla="*/ 40946 w 182670"/>
                <a:gd name="connsiteY7" fmla="*/ 38304 h 220751"/>
                <a:gd name="connsiteX8" fmla="*/ 40946 w 182670"/>
                <a:gd name="connsiteY8" fmla="*/ 2898 h 220751"/>
                <a:gd name="connsiteX9" fmla="*/ 0 w 182670"/>
                <a:gd name="connsiteY9" fmla="*/ 2898 h 220751"/>
                <a:gd name="connsiteX10" fmla="*/ 0 w 182670"/>
                <a:gd name="connsiteY10" fmla="*/ 220626 h 220751"/>
                <a:gd name="connsiteX11" fmla="*/ 42721 w 182670"/>
                <a:gd name="connsiteY11" fmla="*/ 220626 h 220751"/>
                <a:gd name="connsiteX12" fmla="*/ 42721 w 182670"/>
                <a:gd name="connsiteY12" fmla="*/ 91350 h 220751"/>
                <a:gd name="connsiteX13" fmla="*/ 49312 w 182670"/>
                <a:gd name="connsiteY13" fmla="*/ 61740 h 220751"/>
                <a:gd name="connsiteX14" fmla="*/ 67440 w 182670"/>
                <a:gd name="connsiteY14" fmla="*/ 43092 h 220751"/>
                <a:gd name="connsiteX15" fmla="*/ 93807 w 182670"/>
                <a:gd name="connsiteY15" fmla="*/ 36666 h 220751"/>
                <a:gd name="connsiteX16" fmla="*/ 127907 w 182670"/>
                <a:gd name="connsiteY16" fmla="*/ 50022 h 220751"/>
                <a:gd name="connsiteX17" fmla="*/ 140330 w 182670"/>
                <a:gd name="connsiteY17" fmla="*/ 87066 h 220751"/>
                <a:gd name="connsiteX18" fmla="*/ 140330 w 182670"/>
                <a:gd name="connsiteY18" fmla="*/ 220500 h 220751"/>
                <a:gd name="connsiteX19" fmla="*/ 182670 w 182670"/>
                <a:gd name="connsiteY19" fmla="*/ 220500 h 22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2670" h="220751">
                  <a:moveTo>
                    <a:pt x="182670" y="220752"/>
                  </a:moveTo>
                  <a:lnTo>
                    <a:pt x="182670" y="82152"/>
                  </a:lnTo>
                  <a:cubicBezTo>
                    <a:pt x="182670" y="64260"/>
                    <a:pt x="179628" y="49140"/>
                    <a:pt x="173416" y="36918"/>
                  </a:cubicBezTo>
                  <a:cubicBezTo>
                    <a:pt x="167205" y="24696"/>
                    <a:pt x="158585" y="15498"/>
                    <a:pt x="147303" y="9324"/>
                  </a:cubicBezTo>
                  <a:cubicBezTo>
                    <a:pt x="136147" y="3150"/>
                    <a:pt x="122963" y="0"/>
                    <a:pt x="108132" y="0"/>
                  </a:cubicBezTo>
                  <a:cubicBezTo>
                    <a:pt x="91652" y="0"/>
                    <a:pt x="78088" y="3528"/>
                    <a:pt x="67313" y="10458"/>
                  </a:cubicBezTo>
                  <a:cubicBezTo>
                    <a:pt x="56538" y="17514"/>
                    <a:pt x="48552" y="26712"/>
                    <a:pt x="43608" y="38304"/>
                  </a:cubicBezTo>
                  <a:lnTo>
                    <a:pt x="40946" y="38304"/>
                  </a:lnTo>
                  <a:lnTo>
                    <a:pt x="40946" y="2898"/>
                  </a:lnTo>
                  <a:lnTo>
                    <a:pt x="0" y="2898"/>
                  </a:lnTo>
                  <a:lnTo>
                    <a:pt x="0" y="220626"/>
                  </a:lnTo>
                  <a:lnTo>
                    <a:pt x="42721" y="220626"/>
                  </a:lnTo>
                  <a:lnTo>
                    <a:pt x="42721" y="91350"/>
                  </a:lnTo>
                  <a:cubicBezTo>
                    <a:pt x="42721" y="79884"/>
                    <a:pt x="44875" y="69930"/>
                    <a:pt x="49312" y="61740"/>
                  </a:cubicBezTo>
                  <a:cubicBezTo>
                    <a:pt x="53749" y="53550"/>
                    <a:pt x="59707" y="47376"/>
                    <a:pt x="67440" y="43092"/>
                  </a:cubicBezTo>
                  <a:cubicBezTo>
                    <a:pt x="75173" y="38808"/>
                    <a:pt x="83920" y="36666"/>
                    <a:pt x="93807" y="36666"/>
                  </a:cubicBezTo>
                  <a:cubicBezTo>
                    <a:pt x="108258" y="36666"/>
                    <a:pt x="119667" y="41076"/>
                    <a:pt x="127907" y="50022"/>
                  </a:cubicBezTo>
                  <a:cubicBezTo>
                    <a:pt x="136147" y="58968"/>
                    <a:pt x="140330" y="71316"/>
                    <a:pt x="140330" y="87066"/>
                  </a:cubicBezTo>
                  <a:lnTo>
                    <a:pt x="140330" y="220500"/>
                  </a:lnTo>
                  <a:lnTo>
                    <a:pt x="182670" y="22050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69" name="Freihandform 25">
              <a:extLst>
                <a:ext uri="{FF2B5EF4-FFF2-40B4-BE49-F238E27FC236}">
                  <a16:creationId xmlns:a16="http://schemas.microsoft.com/office/drawing/2014/main" id="{DCDE3BF8-38D7-49D1-99BC-C197D071097F}"/>
                </a:ext>
              </a:extLst>
            </p:cNvPr>
            <p:cNvSpPr/>
            <p:nvPr/>
          </p:nvSpPr>
          <p:spPr bwMode="invGray">
            <a:xfrm>
              <a:off x="1572634" y="287797"/>
              <a:ext cx="43766" cy="66974"/>
            </a:xfrm>
            <a:custGeom>
              <a:avLst/>
              <a:gdLst>
                <a:gd name="connsiteX0" fmla="*/ 158585 w 200163"/>
                <a:gd name="connsiteY0" fmla="*/ 2772 h 306306"/>
                <a:gd name="connsiteX1" fmla="*/ 158585 w 200163"/>
                <a:gd name="connsiteY1" fmla="*/ 38052 h 306306"/>
                <a:gd name="connsiteX2" fmla="*/ 155415 w 200163"/>
                <a:gd name="connsiteY2" fmla="*/ 38052 h 306306"/>
                <a:gd name="connsiteX3" fmla="*/ 144513 w 200163"/>
                <a:gd name="connsiteY3" fmla="*/ 22302 h 306306"/>
                <a:gd name="connsiteX4" fmla="*/ 124865 w 200163"/>
                <a:gd name="connsiteY4" fmla="*/ 6678 h 306306"/>
                <a:gd name="connsiteX5" fmla="*/ 91905 w 200163"/>
                <a:gd name="connsiteY5" fmla="*/ 0 h 306306"/>
                <a:gd name="connsiteX6" fmla="*/ 44622 w 200163"/>
                <a:gd name="connsiteY6" fmla="*/ 13230 h 306306"/>
                <a:gd name="connsiteX7" fmla="*/ 11916 w 200163"/>
                <a:gd name="connsiteY7" fmla="*/ 51282 h 306306"/>
                <a:gd name="connsiteX8" fmla="*/ 0 w 200163"/>
                <a:gd name="connsiteY8" fmla="*/ 110880 h 306306"/>
                <a:gd name="connsiteX9" fmla="*/ 12043 w 200163"/>
                <a:gd name="connsiteY9" fmla="*/ 169344 h 306306"/>
                <a:gd name="connsiteX10" fmla="*/ 44875 w 200163"/>
                <a:gd name="connsiteY10" fmla="*/ 205254 h 306306"/>
                <a:gd name="connsiteX11" fmla="*/ 91525 w 200163"/>
                <a:gd name="connsiteY11" fmla="*/ 217350 h 306306"/>
                <a:gd name="connsiteX12" fmla="*/ 124231 w 200163"/>
                <a:gd name="connsiteY12" fmla="*/ 211050 h 306306"/>
                <a:gd name="connsiteX13" fmla="*/ 144006 w 200163"/>
                <a:gd name="connsiteY13" fmla="*/ 196308 h 306306"/>
                <a:gd name="connsiteX14" fmla="*/ 155035 w 200163"/>
                <a:gd name="connsiteY14" fmla="*/ 180810 h 306306"/>
                <a:gd name="connsiteX15" fmla="*/ 157697 w 200163"/>
                <a:gd name="connsiteY15" fmla="*/ 180810 h 306306"/>
                <a:gd name="connsiteX16" fmla="*/ 157697 w 200163"/>
                <a:gd name="connsiteY16" fmla="*/ 223650 h 306306"/>
                <a:gd name="connsiteX17" fmla="*/ 141851 w 200163"/>
                <a:gd name="connsiteY17" fmla="*/ 260568 h 306306"/>
                <a:gd name="connsiteX18" fmla="*/ 101793 w 200163"/>
                <a:gd name="connsiteY18" fmla="*/ 272160 h 306306"/>
                <a:gd name="connsiteX19" fmla="*/ 72891 w 200163"/>
                <a:gd name="connsiteY19" fmla="*/ 267246 h 306306"/>
                <a:gd name="connsiteX20" fmla="*/ 55270 w 200163"/>
                <a:gd name="connsiteY20" fmla="*/ 255276 h 306306"/>
                <a:gd name="connsiteX21" fmla="*/ 44875 w 200163"/>
                <a:gd name="connsiteY21" fmla="*/ 242424 h 306306"/>
                <a:gd name="connsiteX22" fmla="*/ 8240 w 200163"/>
                <a:gd name="connsiteY22" fmla="*/ 257418 h 306306"/>
                <a:gd name="connsiteX23" fmla="*/ 25860 w 200163"/>
                <a:gd name="connsiteY23" fmla="*/ 281610 h 306306"/>
                <a:gd name="connsiteX24" fmla="*/ 56411 w 200163"/>
                <a:gd name="connsiteY24" fmla="*/ 299502 h 306306"/>
                <a:gd name="connsiteX25" fmla="*/ 101286 w 200163"/>
                <a:gd name="connsiteY25" fmla="*/ 306306 h 306306"/>
                <a:gd name="connsiteX26" fmla="*/ 151486 w 200163"/>
                <a:gd name="connsiteY26" fmla="*/ 297612 h 306306"/>
                <a:gd name="connsiteX27" fmla="*/ 186980 w 200163"/>
                <a:gd name="connsiteY27" fmla="*/ 271026 h 306306"/>
                <a:gd name="connsiteX28" fmla="*/ 200164 w 200163"/>
                <a:gd name="connsiteY28" fmla="*/ 225288 h 306306"/>
                <a:gd name="connsiteX29" fmla="*/ 200164 w 200163"/>
                <a:gd name="connsiteY29" fmla="*/ 2772 h 306306"/>
                <a:gd name="connsiteX30" fmla="*/ 158585 w 200163"/>
                <a:gd name="connsiteY30" fmla="*/ 2772 h 306306"/>
                <a:gd name="connsiteX31" fmla="*/ 151739 w 200163"/>
                <a:gd name="connsiteY31" fmla="*/ 148932 h 306306"/>
                <a:gd name="connsiteX32" fmla="*/ 132344 w 200163"/>
                <a:gd name="connsiteY32" fmla="*/ 173628 h 306306"/>
                <a:gd name="connsiteX33" fmla="*/ 101160 w 200163"/>
                <a:gd name="connsiteY33" fmla="*/ 182196 h 306306"/>
                <a:gd name="connsiteX34" fmla="*/ 69341 w 200163"/>
                <a:gd name="connsiteY34" fmla="*/ 173124 h 306306"/>
                <a:gd name="connsiteX35" fmla="*/ 49946 w 200163"/>
                <a:gd name="connsiteY35" fmla="*/ 147924 h 306306"/>
                <a:gd name="connsiteX36" fmla="*/ 43354 w 200163"/>
                <a:gd name="connsiteY36" fmla="*/ 110376 h 306306"/>
                <a:gd name="connsiteX37" fmla="*/ 49819 w 200163"/>
                <a:gd name="connsiteY37" fmla="*/ 72702 h 306306"/>
                <a:gd name="connsiteX38" fmla="*/ 69088 w 200163"/>
                <a:gd name="connsiteY38" fmla="*/ 45990 h 306306"/>
                <a:gd name="connsiteX39" fmla="*/ 101160 w 200163"/>
                <a:gd name="connsiteY39" fmla="*/ 36162 h 306306"/>
                <a:gd name="connsiteX40" fmla="*/ 132597 w 200163"/>
                <a:gd name="connsiteY40" fmla="*/ 45612 h 306306"/>
                <a:gd name="connsiteX41" fmla="*/ 151866 w 200163"/>
                <a:gd name="connsiteY41" fmla="*/ 71820 h 306306"/>
                <a:gd name="connsiteX42" fmla="*/ 158458 w 200163"/>
                <a:gd name="connsiteY42" fmla="*/ 110502 h 306306"/>
                <a:gd name="connsiteX43" fmla="*/ 151739 w 200163"/>
                <a:gd name="connsiteY43" fmla="*/ 148932 h 306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00163" h="306306">
                  <a:moveTo>
                    <a:pt x="158585" y="2772"/>
                  </a:moveTo>
                  <a:lnTo>
                    <a:pt x="158585" y="38052"/>
                  </a:lnTo>
                  <a:lnTo>
                    <a:pt x="155415" y="38052"/>
                  </a:lnTo>
                  <a:cubicBezTo>
                    <a:pt x="152880" y="33516"/>
                    <a:pt x="149204" y="28224"/>
                    <a:pt x="144513" y="22302"/>
                  </a:cubicBezTo>
                  <a:cubicBezTo>
                    <a:pt x="139823" y="16380"/>
                    <a:pt x="133231" y="11088"/>
                    <a:pt x="124865" y="6678"/>
                  </a:cubicBezTo>
                  <a:cubicBezTo>
                    <a:pt x="116498" y="2142"/>
                    <a:pt x="105470" y="0"/>
                    <a:pt x="91905" y="0"/>
                  </a:cubicBezTo>
                  <a:cubicBezTo>
                    <a:pt x="74285" y="0"/>
                    <a:pt x="58566" y="4410"/>
                    <a:pt x="44622" y="13230"/>
                  </a:cubicBezTo>
                  <a:cubicBezTo>
                    <a:pt x="30678" y="22050"/>
                    <a:pt x="19775" y="34776"/>
                    <a:pt x="11916" y="51282"/>
                  </a:cubicBezTo>
                  <a:cubicBezTo>
                    <a:pt x="3930" y="67788"/>
                    <a:pt x="0" y="87696"/>
                    <a:pt x="0" y="110880"/>
                  </a:cubicBezTo>
                  <a:cubicBezTo>
                    <a:pt x="0" y="134064"/>
                    <a:pt x="4057" y="153594"/>
                    <a:pt x="12043" y="169344"/>
                  </a:cubicBezTo>
                  <a:cubicBezTo>
                    <a:pt x="20029" y="185220"/>
                    <a:pt x="31058" y="197190"/>
                    <a:pt x="44875" y="205254"/>
                  </a:cubicBezTo>
                  <a:cubicBezTo>
                    <a:pt x="58693" y="213318"/>
                    <a:pt x="74285" y="217350"/>
                    <a:pt x="91525" y="217350"/>
                  </a:cubicBezTo>
                  <a:cubicBezTo>
                    <a:pt x="104962" y="217350"/>
                    <a:pt x="115864" y="215208"/>
                    <a:pt x="124231" y="211050"/>
                  </a:cubicBezTo>
                  <a:cubicBezTo>
                    <a:pt x="132597" y="206892"/>
                    <a:pt x="139189" y="201978"/>
                    <a:pt x="144006" y="196308"/>
                  </a:cubicBezTo>
                  <a:cubicBezTo>
                    <a:pt x="148823" y="190638"/>
                    <a:pt x="152500" y="185472"/>
                    <a:pt x="155035" y="180810"/>
                  </a:cubicBezTo>
                  <a:lnTo>
                    <a:pt x="157697" y="180810"/>
                  </a:lnTo>
                  <a:lnTo>
                    <a:pt x="157697" y="223650"/>
                  </a:lnTo>
                  <a:cubicBezTo>
                    <a:pt x="157697" y="240534"/>
                    <a:pt x="152373" y="252756"/>
                    <a:pt x="141851" y="260568"/>
                  </a:cubicBezTo>
                  <a:cubicBezTo>
                    <a:pt x="131330" y="268380"/>
                    <a:pt x="117892" y="272160"/>
                    <a:pt x="101793" y="272160"/>
                  </a:cubicBezTo>
                  <a:cubicBezTo>
                    <a:pt x="90004" y="272160"/>
                    <a:pt x="80370" y="270522"/>
                    <a:pt x="72891" y="267246"/>
                  </a:cubicBezTo>
                  <a:cubicBezTo>
                    <a:pt x="65411" y="263970"/>
                    <a:pt x="59580" y="259938"/>
                    <a:pt x="55270" y="255276"/>
                  </a:cubicBezTo>
                  <a:cubicBezTo>
                    <a:pt x="50960" y="250614"/>
                    <a:pt x="47537" y="246330"/>
                    <a:pt x="44875" y="242424"/>
                  </a:cubicBezTo>
                  <a:lnTo>
                    <a:pt x="8240" y="257418"/>
                  </a:lnTo>
                  <a:cubicBezTo>
                    <a:pt x="12043" y="266112"/>
                    <a:pt x="18001" y="274176"/>
                    <a:pt x="25860" y="281610"/>
                  </a:cubicBezTo>
                  <a:cubicBezTo>
                    <a:pt x="33720" y="289044"/>
                    <a:pt x="43988" y="294966"/>
                    <a:pt x="56411" y="299502"/>
                  </a:cubicBezTo>
                  <a:cubicBezTo>
                    <a:pt x="68961" y="304038"/>
                    <a:pt x="83919" y="306306"/>
                    <a:pt x="101286" y="306306"/>
                  </a:cubicBezTo>
                  <a:cubicBezTo>
                    <a:pt x="119921" y="306306"/>
                    <a:pt x="136654" y="303408"/>
                    <a:pt x="151486" y="297612"/>
                  </a:cubicBezTo>
                  <a:cubicBezTo>
                    <a:pt x="166317" y="291816"/>
                    <a:pt x="178233" y="282996"/>
                    <a:pt x="186980" y="271026"/>
                  </a:cubicBezTo>
                  <a:cubicBezTo>
                    <a:pt x="195727" y="259056"/>
                    <a:pt x="200164" y="243810"/>
                    <a:pt x="200164" y="225288"/>
                  </a:cubicBezTo>
                  <a:lnTo>
                    <a:pt x="200164" y="2772"/>
                  </a:lnTo>
                  <a:lnTo>
                    <a:pt x="158585" y="2772"/>
                  </a:lnTo>
                  <a:close/>
                  <a:moveTo>
                    <a:pt x="151739" y="148932"/>
                  </a:moveTo>
                  <a:cubicBezTo>
                    <a:pt x="147302" y="159642"/>
                    <a:pt x="140837" y="167832"/>
                    <a:pt x="132344" y="173628"/>
                  </a:cubicBezTo>
                  <a:cubicBezTo>
                    <a:pt x="123850" y="179298"/>
                    <a:pt x="113456" y="182196"/>
                    <a:pt x="101160" y="182196"/>
                  </a:cubicBezTo>
                  <a:cubicBezTo>
                    <a:pt x="88483" y="182196"/>
                    <a:pt x="77834" y="179172"/>
                    <a:pt x="69341" y="173124"/>
                  </a:cubicBezTo>
                  <a:cubicBezTo>
                    <a:pt x="60848" y="167076"/>
                    <a:pt x="54256" y="158634"/>
                    <a:pt x="49946" y="147924"/>
                  </a:cubicBezTo>
                  <a:cubicBezTo>
                    <a:pt x="45509" y="137088"/>
                    <a:pt x="43354" y="124614"/>
                    <a:pt x="43354" y="110376"/>
                  </a:cubicBezTo>
                  <a:cubicBezTo>
                    <a:pt x="43354" y="96516"/>
                    <a:pt x="45509" y="83916"/>
                    <a:pt x="49819" y="72702"/>
                  </a:cubicBezTo>
                  <a:cubicBezTo>
                    <a:pt x="54129" y="61488"/>
                    <a:pt x="60594" y="52542"/>
                    <a:pt x="69088" y="45990"/>
                  </a:cubicBezTo>
                  <a:cubicBezTo>
                    <a:pt x="77581" y="39438"/>
                    <a:pt x="88356" y="36162"/>
                    <a:pt x="101160" y="36162"/>
                  </a:cubicBezTo>
                  <a:cubicBezTo>
                    <a:pt x="113582" y="36162"/>
                    <a:pt x="124104" y="39312"/>
                    <a:pt x="132597" y="45612"/>
                  </a:cubicBezTo>
                  <a:cubicBezTo>
                    <a:pt x="141091" y="51912"/>
                    <a:pt x="147429" y="60606"/>
                    <a:pt x="151866" y="71820"/>
                  </a:cubicBezTo>
                  <a:cubicBezTo>
                    <a:pt x="156176" y="83034"/>
                    <a:pt x="158458" y="95886"/>
                    <a:pt x="158458" y="110502"/>
                  </a:cubicBezTo>
                  <a:cubicBezTo>
                    <a:pt x="158331" y="125370"/>
                    <a:pt x="156176" y="138222"/>
                    <a:pt x="151739" y="14893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0" name="Freihandform 26">
              <a:extLst>
                <a:ext uri="{FF2B5EF4-FFF2-40B4-BE49-F238E27FC236}">
                  <a16:creationId xmlns:a16="http://schemas.microsoft.com/office/drawing/2014/main" id="{D35E5E15-C461-4439-AC18-BA347E8E9B02}"/>
                </a:ext>
              </a:extLst>
            </p:cNvPr>
            <p:cNvSpPr/>
            <p:nvPr/>
          </p:nvSpPr>
          <p:spPr bwMode="invGray">
            <a:xfrm>
              <a:off x="1125303" y="358490"/>
              <a:ext cx="29408" cy="66478"/>
            </a:xfrm>
            <a:custGeom>
              <a:avLst/>
              <a:gdLst>
                <a:gd name="connsiteX0" fmla="*/ 33974 w 134499"/>
                <a:gd name="connsiteY0" fmla="*/ 304038 h 304038"/>
                <a:gd name="connsiteX1" fmla="*/ 76567 w 134499"/>
                <a:gd name="connsiteY1" fmla="*/ 304038 h 304038"/>
                <a:gd name="connsiteX2" fmla="*/ 76567 w 134499"/>
                <a:gd name="connsiteY2" fmla="*/ 120204 h 304038"/>
                <a:gd name="connsiteX3" fmla="*/ 123851 w 134499"/>
                <a:gd name="connsiteY3" fmla="*/ 120204 h 304038"/>
                <a:gd name="connsiteX4" fmla="*/ 123851 w 134499"/>
                <a:gd name="connsiteY4" fmla="*/ 86184 h 304038"/>
                <a:gd name="connsiteX5" fmla="*/ 76567 w 134499"/>
                <a:gd name="connsiteY5" fmla="*/ 86184 h 304038"/>
                <a:gd name="connsiteX6" fmla="*/ 76567 w 134499"/>
                <a:gd name="connsiteY6" fmla="*/ 66654 h 304038"/>
                <a:gd name="connsiteX7" fmla="*/ 83159 w 134499"/>
                <a:gd name="connsiteY7" fmla="*/ 44478 h 304038"/>
                <a:gd name="connsiteX8" fmla="*/ 105343 w 134499"/>
                <a:gd name="connsiteY8" fmla="*/ 36792 h 304038"/>
                <a:gd name="connsiteX9" fmla="*/ 116752 w 134499"/>
                <a:gd name="connsiteY9" fmla="*/ 38052 h 304038"/>
                <a:gd name="connsiteX10" fmla="*/ 124484 w 134499"/>
                <a:gd name="connsiteY10" fmla="*/ 40068 h 304038"/>
                <a:gd name="connsiteX11" fmla="*/ 134499 w 134499"/>
                <a:gd name="connsiteY11" fmla="*/ 5796 h 304038"/>
                <a:gd name="connsiteX12" fmla="*/ 120935 w 134499"/>
                <a:gd name="connsiteY12" fmla="*/ 2016 h 304038"/>
                <a:gd name="connsiteX13" fmla="*/ 99005 w 134499"/>
                <a:gd name="connsiteY13" fmla="*/ 0 h 304038"/>
                <a:gd name="connsiteX14" fmla="*/ 66806 w 134499"/>
                <a:gd name="connsiteY14" fmla="*/ 6804 h 304038"/>
                <a:gd name="connsiteX15" fmla="*/ 42974 w 134499"/>
                <a:gd name="connsiteY15" fmla="*/ 27090 h 304038"/>
                <a:gd name="connsiteX16" fmla="*/ 33974 w 134499"/>
                <a:gd name="connsiteY16" fmla="*/ 60984 h 304038"/>
                <a:gd name="connsiteX17" fmla="*/ 33974 w 134499"/>
                <a:gd name="connsiteY17" fmla="*/ 86184 h 304038"/>
                <a:gd name="connsiteX18" fmla="*/ 0 w 134499"/>
                <a:gd name="connsiteY18" fmla="*/ 86184 h 304038"/>
                <a:gd name="connsiteX19" fmla="*/ 0 w 134499"/>
                <a:gd name="connsiteY19" fmla="*/ 120204 h 304038"/>
                <a:gd name="connsiteX20" fmla="*/ 33974 w 134499"/>
                <a:gd name="connsiteY20" fmla="*/ 120204 h 304038"/>
                <a:gd name="connsiteX21" fmla="*/ 33974 w 134499"/>
                <a:gd name="connsiteY21" fmla="*/ 304038 h 304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4499" h="304038">
                  <a:moveTo>
                    <a:pt x="33974" y="304038"/>
                  </a:moveTo>
                  <a:lnTo>
                    <a:pt x="76567" y="304038"/>
                  </a:lnTo>
                  <a:lnTo>
                    <a:pt x="76567" y="120204"/>
                  </a:lnTo>
                  <a:lnTo>
                    <a:pt x="123851" y="120204"/>
                  </a:lnTo>
                  <a:lnTo>
                    <a:pt x="123851" y="86184"/>
                  </a:lnTo>
                  <a:lnTo>
                    <a:pt x="76567" y="86184"/>
                  </a:lnTo>
                  <a:lnTo>
                    <a:pt x="76567" y="66654"/>
                  </a:lnTo>
                  <a:cubicBezTo>
                    <a:pt x="76567" y="56952"/>
                    <a:pt x="78849" y="49644"/>
                    <a:pt x="83159" y="44478"/>
                  </a:cubicBezTo>
                  <a:cubicBezTo>
                    <a:pt x="87595" y="39438"/>
                    <a:pt x="94948" y="36792"/>
                    <a:pt x="105343" y="36792"/>
                  </a:cubicBezTo>
                  <a:cubicBezTo>
                    <a:pt x="109780" y="36792"/>
                    <a:pt x="113583" y="37170"/>
                    <a:pt x="116752" y="38052"/>
                  </a:cubicBezTo>
                  <a:cubicBezTo>
                    <a:pt x="119921" y="38808"/>
                    <a:pt x="122456" y="39564"/>
                    <a:pt x="124484" y="40068"/>
                  </a:cubicBezTo>
                  <a:lnTo>
                    <a:pt x="134499" y="5796"/>
                  </a:lnTo>
                  <a:cubicBezTo>
                    <a:pt x="131583" y="4662"/>
                    <a:pt x="127020" y="3402"/>
                    <a:pt x="120935" y="2016"/>
                  </a:cubicBezTo>
                  <a:cubicBezTo>
                    <a:pt x="114851" y="630"/>
                    <a:pt x="107498" y="0"/>
                    <a:pt x="99005" y="0"/>
                  </a:cubicBezTo>
                  <a:cubicBezTo>
                    <a:pt x="87469" y="0"/>
                    <a:pt x="76694" y="2268"/>
                    <a:pt x="66806" y="6804"/>
                  </a:cubicBezTo>
                  <a:cubicBezTo>
                    <a:pt x="56918" y="11340"/>
                    <a:pt x="48932" y="18018"/>
                    <a:pt x="42974" y="27090"/>
                  </a:cubicBezTo>
                  <a:cubicBezTo>
                    <a:pt x="37016" y="36162"/>
                    <a:pt x="33974" y="47376"/>
                    <a:pt x="33974" y="60984"/>
                  </a:cubicBezTo>
                  <a:lnTo>
                    <a:pt x="33974" y="86184"/>
                  </a:lnTo>
                  <a:lnTo>
                    <a:pt x="0" y="86184"/>
                  </a:lnTo>
                  <a:lnTo>
                    <a:pt x="0" y="120204"/>
                  </a:lnTo>
                  <a:lnTo>
                    <a:pt x="33974" y="120204"/>
                  </a:lnTo>
                  <a:lnTo>
                    <a:pt x="33974" y="304038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1" name="Freihandform 27">
              <a:extLst>
                <a:ext uri="{FF2B5EF4-FFF2-40B4-BE49-F238E27FC236}">
                  <a16:creationId xmlns:a16="http://schemas.microsoft.com/office/drawing/2014/main" id="{6C5BF7EA-6C05-489E-9BEF-0CFEC8C016FB}"/>
                </a:ext>
              </a:extLst>
            </p:cNvPr>
            <p:cNvSpPr/>
            <p:nvPr/>
          </p:nvSpPr>
          <p:spPr bwMode="invGray">
            <a:xfrm>
              <a:off x="1159174" y="376728"/>
              <a:ext cx="44625" cy="49176"/>
            </a:xfrm>
            <a:custGeom>
              <a:avLst/>
              <a:gdLst>
                <a:gd name="connsiteX0" fmla="*/ 204094 w 204093"/>
                <a:gd name="connsiteY0" fmla="*/ 112644 h 224909"/>
                <a:gd name="connsiteX1" fmla="*/ 191417 w 204093"/>
                <a:gd name="connsiteY1" fmla="*/ 53424 h 224909"/>
                <a:gd name="connsiteX2" fmla="*/ 155796 w 204093"/>
                <a:gd name="connsiteY2" fmla="*/ 13986 h 224909"/>
                <a:gd name="connsiteX3" fmla="*/ 102047 w 204093"/>
                <a:gd name="connsiteY3" fmla="*/ 0 h 224909"/>
                <a:gd name="connsiteX4" fmla="*/ 48298 w 204093"/>
                <a:gd name="connsiteY4" fmla="*/ 13986 h 224909"/>
                <a:gd name="connsiteX5" fmla="*/ 12677 w 204093"/>
                <a:gd name="connsiteY5" fmla="*/ 53424 h 224909"/>
                <a:gd name="connsiteX6" fmla="*/ 0 w 204093"/>
                <a:gd name="connsiteY6" fmla="*/ 112644 h 224909"/>
                <a:gd name="connsiteX7" fmla="*/ 12677 w 204093"/>
                <a:gd name="connsiteY7" fmla="*/ 171612 h 224909"/>
                <a:gd name="connsiteX8" fmla="*/ 48298 w 204093"/>
                <a:gd name="connsiteY8" fmla="*/ 210924 h 224909"/>
                <a:gd name="connsiteX9" fmla="*/ 102047 w 204093"/>
                <a:gd name="connsiteY9" fmla="*/ 224910 h 224909"/>
                <a:gd name="connsiteX10" fmla="*/ 155796 w 204093"/>
                <a:gd name="connsiteY10" fmla="*/ 210924 h 224909"/>
                <a:gd name="connsiteX11" fmla="*/ 191417 w 204093"/>
                <a:gd name="connsiteY11" fmla="*/ 171612 h 224909"/>
                <a:gd name="connsiteX12" fmla="*/ 204094 w 204093"/>
                <a:gd name="connsiteY12" fmla="*/ 112644 h 224909"/>
                <a:gd name="connsiteX13" fmla="*/ 154655 w 204093"/>
                <a:gd name="connsiteY13" fmla="*/ 150948 h 224909"/>
                <a:gd name="connsiteX14" fmla="*/ 135133 w 204093"/>
                <a:gd name="connsiteY14" fmla="*/ 178920 h 224909"/>
                <a:gd name="connsiteX15" fmla="*/ 102047 w 204093"/>
                <a:gd name="connsiteY15" fmla="*/ 189378 h 224909"/>
                <a:gd name="connsiteX16" fmla="*/ 68707 w 204093"/>
                <a:gd name="connsiteY16" fmla="*/ 178920 h 224909"/>
                <a:gd name="connsiteX17" fmla="*/ 49185 w 204093"/>
                <a:gd name="connsiteY17" fmla="*/ 150948 h 224909"/>
                <a:gd name="connsiteX18" fmla="*/ 42847 w 204093"/>
                <a:gd name="connsiteY18" fmla="*/ 112518 h 224909"/>
                <a:gd name="connsiteX19" fmla="*/ 49185 w 204093"/>
                <a:gd name="connsiteY19" fmla="*/ 74214 h 224909"/>
                <a:gd name="connsiteX20" fmla="*/ 68707 w 204093"/>
                <a:gd name="connsiteY20" fmla="*/ 46116 h 224909"/>
                <a:gd name="connsiteX21" fmla="*/ 102047 w 204093"/>
                <a:gd name="connsiteY21" fmla="*/ 35532 h 224909"/>
                <a:gd name="connsiteX22" fmla="*/ 135133 w 204093"/>
                <a:gd name="connsiteY22" fmla="*/ 46116 h 224909"/>
                <a:gd name="connsiteX23" fmla="*/ 154655 w 204093"/>
                <a:gd name="connsiteY23" fmla="*/ 74214 h 224909"/>
                <a:gd name="connsiteX24" fmla="*/ 160993 w 204093"/>
                <a:gd name="connsiteY24" fmla="*/ 112518 h 224909"/>
                <a:gd name="connsiteX25" fmla="*/ 154655 w 204093"/>
                <a:gd name="connsiteY25" fmla="*/ 150948 h 22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09">
                  <a:moveTo>
                    <a:pt x="204094" y="112644"/>
                  </a:moveTo>
                  <a:cubicBezTo>
                    <a:pt x="204094" y="90090"/>
                    <a:pt x="199911" y="70308"/>
                    <a:pt x="191417" y="53424"/>
                  </a:cubicBezTo>
                  <a:cubicBezTo>
                    <a:pt x="182924" y="36540"/>
                    <a:pt x="171008" y="23436"/>
                    <a:pt x="155796" y="13986"/>
                  </a:cubicBez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7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4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7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1" y="154854"/>
                    <a:pt x="204094" y="135198"/>
                    <a:pt x="204094" y="112644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10" y="189378"/>
                    <a:pt x="77581" y="185850"/>
                    <a:pt x="68707" y="178920"/>
                  </a:cubicBezTo>
                  <a:cubicBezTo>
                    <a:pt x="59961" y="171990"/>
                    <a:pt x="53369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9" y="62496"/>
                    <a:pt x="59961" y="53172"/>
                    <a:pt x="68707" y="46116"/>
                  </a:cubicBezTo>
                  <a:cubicBezTo>
                    <a:pt x="77454" y="39060"/>
                    <a:pt x="88610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2" name="Freihandform 28">
              <a:extLst>
                <a:ext uri="{FF2B5EF4-FFF2-40B4-BE49-F238E27FC236}">
                  <a16:creationId xmlns:a16="http://schemas.microsoft.com/office/drawing/2014/main" id="{6EFBF79A-4A51-48BF-89A7-AA431ACDE9A8}"/>
                </a:ext>
              </a:extLst>
            </p:cNvPr>
            <p:cNvSpPr/>
            <p:nvPr/>
          </p:nvSpPr>
          <p:spPr bwMode="invGray">
            <a:xfrm>
              <a:off x="1213472" y="376618"/>
              <a:ext cx="25638" cy="48323"/>
            </a:xfrm>
            <a:custGeom>
              <a:avLst/>
              <a:gdLst>
                <a:gd name="connsiteX0" fmla="*/ 41199 w 117258"/>
                <a:gd name="connsiteY0" fmla="*/ 3276 h 221004"/>
                <a:gd name="connsiteX1" fmla="*/ 0 w 117258"/>
                <a:gd name="connsiteY1" fmla="*/ 3276 h 221004"/>
                <a:gd name="connsiteX2" fmla="*/ 0 w 117258"/>
                <a:gd name="connsiteY2" fmla="*/ 221004 h 221004"/>
                <a:gd name="connsiteX3" fmla="*/ 42720 w 117258"/>
                <a:gd name="connsiteY3" fmla="*/ 221004 h 221004"/>
                <a:gd name="connsiteX4" fmla="*/ 42720 w 117258"/>
                <a:gd name="connsiteY4" fmla="*/ 88074 h 221004"/>
                <a:gd name="connsiteX5" fmla="*/ 49565 w 117258"/>
                <a:gd name="connsiteY5" fmla="*/ 62748 h 221004"/>
                <a:gd name="connsiteX6" fmla="*/ 68200 w 117258"/>
                <a:gd name="connsiteY6" fmla="*/ 45360 h 221004"/>
                <a:gd name="connsiteX7" fmla="*/ 95075 w 117258"/>
                <a:gd name="connsiteY7" fmla="*/ 39060 h 221004"/>
                <a:gd name="connsiteX8" fmla="*/ 108132 w 117258"/>
                <a:gd name="connsiteY8" fmla="*/ 39942 h 221004"/>
                <a:gd name="connsiteX9" fmla="*/ 117259 w 117258"/>
                <a:gd name="connsiteY9" fmla="*/ 41580 h 221004"/>
                <a:gd name="connsiteX10" fmla="*/ 117259 w 117258"/>
                <a:gd name="connsiteY10" fmla="*/ 1008 h 221004"/>
                <a:gd name="connsiteX11" fmla="*/ 108638 w 117258"/>
                <a:gd name="connsiteY11" fmla="*/ 252 h 221004"/>
                <a:gd name="connsiteX12" fmla="*/ 99131 w 117258"/>
                <a:gd name="connsiteY12" fmla="*/ 0 h 221004"/>
                <a:gd name="connsiteX13" fmla="*/ 64650 w 117258"/>
                <a:gd name="connsiteY13" fmla="*/ 10080 h 221004"/>
                <a:gd name="connsiteX14" fmla="*/ 43481 w 117258"/>
                <a:gd name="connsiteY14" fmla="*/ 37800 h 221004"/>
                <a:gd name="connsiteX15" fmla="*/ 41199 w 117258"/>
                <a:gd name="connsiteY15" fmla="*/ 37800 h 221004"/>
                <a:gd name="connsiteX16" fmla="*/ 41199 w 117258"/>
                <a:gd name="connsiteY16" fmla="*/ 3276 h 2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1004">
                  <a:moveTo>
                    <a:pt x="41199" y="3276"/>
                  </a:moveTo>
                  <a:lnTo>
                    <a:pt x="0" y="3276"/>
                  </a:lnTo>
                  <a:lnTo>
                    <a:pt x="0" y="221004"/>
                  </a:lnTo>
                  <a:lnTo>
                    <a:pt x="42720" y="221004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5" y="62748"/>
                  </a:cubicBezTo>
                  <a:cubicBezTo>
                    <a:pt x="54129" y="55314"/>
                    <a:pt x="60340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1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8" y="252"/>
                  </a:cubicBezTo>
                  <a:cubicBezTo>
                    <a:pt x="104962" y="0"/>
                    <a:pt x="101793" y="0"/>
                    <a:pt x="99131" y="0"/>
                  </a:cubicBezTo>
                  <a:cubicBezTo>
                    <a:pt x="86328" y="0"/>
                    <a:pt x="74792" y="3402"/>
                    <a:pt x="64650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276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3" name="Freihandform 29">
              <a:extLst>
                <a:ext uri="{FF2B5EF4-FFF2-40B4-BE49-F238E27FC236}">
                  <a16:creationId xmlns:a16="http://schemas.microsoft.com/office/drawing/2014/main" id="{87888852-2BFD-4EEE-8AB2-7E8FD59E1AB6}"/>
                </a:ext>
              </a:extLst>
            </p:cNvPr>
            <p:cNvSpPr/>
            <p:nvPr/>
          </p:nvSpPr>
          <p:spPr bwMode="invGray">
            <a:xfrm>
              <a:off x="1266856" y="376728"/>
              <a:ext cx="39857" cy="49314"/>
            </a:xfrm>
            <a:custGeom>
              <a:avLst/>
              <a:gdLst>
                <a:gd name="connsiteX0" fmla="*/ 152627 w 182289"/>
                <a:gd name="connsiteY0" fmla="*/ 14112 h 225539"/>
                <a:gd name="connsiteX1" fmla="*/ 124992 w 182289"/>
                <a:gd name="connsiteY1" fmla="*/ 3024 h 225539"/>
                <a:gd name="connsiteX2" fmla="*/ 97103 w 182289"/>
                <a:gd name="connsiteY2" fmla="*/ 0 h 225539"/>
                <a:gd name="connsiteX3" fmla="*/ 59326 w 182289"/>
                <a:gd name="connsiteY3" fmla="*/ 5544 h 225539"/>
                <a:gd name="connsiteX4" fmla="*/ 27635 w 182289"/>
                <a:gd name="connsiteY4" fmla="*/ 23436 h 225539"/>
                <a:gd name="connsiteX5" fmla="*/ 6719 w 182289"/>
                <a:gd name="connsiteY5" fmla="*/ 55566 h 225539"/>
                <a:gd name="connsiteX6" fmla="*/ 46777 w 182289"/>
                <a:gd name="connsiteY6" fmla="*/ 64638 h 225539"/>
                <a:gd name="connsiteX7" fmla="*/ 63890 w 182289"/>
                <a:gd name="connsiteY7" fmla="*/ 43722 h 225539"/>
                <a:gd name="connsiteX8" fmla="*/ 97737 w 182289"/>
                <a:gd name="connsiteY8" fmla="*/ 34272 h 225539"/>
                <a:gd name="connsiteX9" fmla="*/ 128921 w 182289"/>
                <a:gd name="connsiteY9" fmla="*/ 44478 h 225539"/>
                <a:gd name="connsiteX10" fmla="*/ 139443 w 182289"/>
                <a:gd name="connsiteY10" fmla="*/ 73332 h 225539"/>
                <a:gd name="connsiteX11" fmla="*/ 139443 w 182289"/>
                <a:gd name="connsiteY11" fmla="*/ 74340 h 225539"/>
                <a:gd name="connsiteX12" fmla="*/ 133865 w 182289"/>
                <a:gd name="connsiteY12" fmla="*/ 85428 h 225539"/>
                <a:gd name="connsiteX13" fmla="*/ 115991 w 182289"/>
                <a:gd name="connsiteY13" fmla="*/ 90342 h 225539"/>
                <a:gd name="connsiteX14" fmla="*/ 84046 w 182289"/>
                <a:gd name="connsiteY14" fmla="*/ 94122 h 225539"/>
                <a:gd name="connsiteX15" fmla="*/ 53495 w 182289"/>
                <a:gd name="connsiteY15" fmla="*/ 99540 h 225539"/>
                <a:gd name="connsiteX16" fmla="*/ 26368 w 182289"/>
                <a:gd name="connsiteY16" fmla="*/ 109998 h 225539"/>
                <a:gd name="connsiteX17" fmla="*/ 7099 w 182289"/>
                <a:gd name="connsiteY17" fmla="*/ 128898 h 225539"/>
                <a:gd name="connsiteX18" fmla="*/ 0 w 182289"/>
                <a:gd name="connsiteY18" fmla="*/ 159264 h 225539"/>
                <a:gd name="connsiteX19" fmla="*/ 9761 w 182289"/>
                <a:gd name="connsiteY19" fmla="*/ 195426 h 225539"/>
                <a:gd name="connsiteX20" fmla="*/ 36382 w 182289"/>
                <a:gd name="connsiteY20" fmla="*/ 217854 h 225539"/>
                <a:gd name="connsiteX21" fmla="*/ 74031 w 182289"/>
                <a:gd name="connsiteY21" fmla="*/ 225540 h 225539"/>
                <a:gd name="connsiteX22" fmla="*/ 105089 w 182289"/>
                <a:gd name="connsiteY22" fmla="*/ 220248 h 225539"/>
                <a:gd name="connsiteX23" fmla="*/ 126386 w 182289"/>
                <a:gd name="connsiteY23" fmla="*/ 207018 h 225539"/>
                <a:gd name="connsiteX24" fmla="*/ 138809 w 182289"/>
                <a:gd name="connsiteY24" fmla="*/ 190890 h 225539"/>
                <a:gd name="connsiteX25" fmla="*/ 140584 w 182289"/>
                <a:gd name="connsiteY25" fmla="*/ 190890 h 225539"/>
                <a:gd name="connsiteX26" fmla="*/ 140584 w 182289"/>
                <a:gd name="connsiteY26" fmla="*/ 220626 h 225539"/>
                <a:gd name="connsiteX27" fmla="*/ 182290 w 182289"/>
                <a:gd name="connsiteY27" fmla="*/ 220626 h 225539"/>
                <a:gd name="connsiteX28" fmla="*/ 182290 w 182289"/>
                <a:gd name="connsiteY28" fmla="*/ 75978 h 225539"/>
                <a:gd name="connsiteX29" fmla="*/ 173923 w 182289"/>
                <a:gd name="connsiteY29" fmla="*/ 37170 h 225539"/>
                <a:gd name="connsiteX30" fmla="*/ 152627 w 182289"/>
                <a:gd name="connsiteY30" fmla="*/ 14112 h 225539"/>
                <a:gd name="connsiteX31" fmla="*/ 139443 w 182289"/>
                <a:gd name="connsiteY31" fmla="*/ 142002 h 225539"/>
                <a:gd name="connsiteX32" fmla="*/ 132851 w 182289"/>
                <a:gd name="connsiteY32" fmla="*/ 166194 h 225539"/>
                <a:gd name="connsiteX33" fmla="*/ 113582 w 182289"/>
                <a:gd name="connsiteY33" fmla="*/ 184464 h 225539"/>
                <a:gd name="connsiteX34" fmla="*/ 83285 w 182289"/>
                <a:gd name="connsiteY34" fmla="*/ 191394 h 225539"/>
                <a:gd name="connsiteX35" fmla="*/ 53495 w 182289"/>
                <a:gd name="connsiteY35" fmla="*/ 183330 h 225539"/>
                <a:gd name="connsiteX36" fmla="*/ 41833 w 182289"/>
                <a:gd name="connsiteY36" fmla="*/ 159642 h 225539"/>
                <a:gd name="connsiteX37" fmla="*/ 47918 w 182289"/>
                <a:gd name="connsiteY37" fmla="*/ 141372 h 225539"/>
                <a:gd name="connsiteX38" fmla="*/ 64144 w 182289"/>
                <a:gd name="connsiteY38" fmla="*/ 130788 h 225539"/>
                <a:gd name="connsiteX39" fmla="*/ 86708 w 182289"/>
                <a:gd name="connsiteY39" fmla="*/ 125496 h 225539"/>
                <a:gd name="connsiteX40" fmla="*/ 99892 w 182289"/>
                <a:gd name="connsiteY40" fmla="*/ 123732 h 225539"/>
                <a:gd name="connsiteX41" fmla="*/ 115991 w 182289"/>
                <a:gd name="connsiteY41" fmla="*/ 121338 h 225539"/>
                <a:gd name="connsiteX42" fmla="*/ 130823 w 182289"/>
                <a:gd name="connsiteY42" fmla="*/ 118062 h 225539"/>
                <a:gd name="connsiteX43" fmla="*/ 139570 w 182289"/>
                <a:gd name="connsiteY43" fmla="*/ 113904 h 225539"/>
                <a:gd name="connsiteX44" fmla="*/ 139570 w 182289"/>
                <a:gd name="connsiteY44" fmla="*/ 142002 h 225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82289" h="225539">
                  <a:moveTo>
                    <a:pt x="152627" y="14112"/>
                  </a:moveTo>
                  <a:cubicBezTo>
                    <a:pt x="144007" y="8694"/>
                    <a:pt x="134753" y="5040"/>
                    <a:pt x="124992" y="3024"/>
                  </a:cubicBezTo>
                  <a:cubicBezTo>
                    <a:pt x="115104" y="1008"/>
                    <a:pt x="105850" y="0"/>
                    <a:pt x="97103" y="0"/>
                  </a:cubicBezTo>
                  <a:cubicBezTo>
                    <a:pt x="83919" y="0"/>
                    <a:pt x="71243" y="1890"/>
                    <a:pt x="59326" y="5544"/>
                  </a:cubicBezTo>
                  <a:cubicBezTo>
                    <a:pt x="47411" y="9324"/>
                    <a:pt x="36762" y="15246"/>
                    <a:pt x="27635" y="23436"/>
                  </a:cubicBezTo>
                  <a:cubicBezTo>
                    <a:pt x="18508" y="31626"/>
                    <a:pt x="11536" y="42336"/>
                    <a:pt x="6719" y="55566"/>
                  </a:cubicBezTo>
                  <a:lnTo>
                    <a:pt x="46777" y="64638"/>
                  </a:lnTo>
                  <a:cubicBezTo>
                    <a:pt x="49946" y="56952"/>
                    <a:pt x="55651" y="50022"/>
                    <a:pt x="63890" y="43722"/>
                  </a:cubicBezTo>
                  <a:cubicBezTo>
                    <a:pt x="72130" y="37422"/>
                    <a:pt x="83412" y="34272"/>
                    <a:pt x="97737" y="34272"/>
                  </a:cubicBezTo>
                  <a:cubicBezTo>
                    <a:pt x="111554" y="34272"/>
                    <a:pt x="121949" y="37674"/>
                    <a:pt x="128921" y="44478"/>
                  </a:cubicBezTo>
                  <a:cubicBezTo>
                    <a:pt x="135893" y="51282"/>
                    <a:pt x="139443" y="60858"/>
                    <a:pt x="139443" y="73332"/>
                  </a:cubicBezTo>
                  <a:lnTo>
                    <a:pt x="139443" y="74340"/>
                  </a:lnTo>
                  <a:cubicBezTo>
                    <a:pt x="139443" y="79380"/>
                    <a:pt x="137668" y="83160"/>
                    <a:pt x="133865" y="85428"/>
                  </a:cubicBezTo>
                  <a:cubicBezTo>
                    <a:pt x="130189" y="87696"/>
                    <a:pt x="124231" y="89334"/>
                    <a:pt x="115991" y="90342"/>
                  </a:cubicBezTo>
                  <a:cubicBezTo>
                    <a:pt x="107751" y="91350"/>
                    <a:pt x="97103" y="92610"/>
                    <a:pt x="84046" y="94122"/>
                  </a:cubicBezTo>
                  <a:cubicBezTo>
                    <a:pt x="73651" y="95382"/>
                    <a:pt x="63510" y="97146"/>
                    <a:pt x="53495" y="99540"/>
                  </a:cubicBezTo>
                  <a:cubicBezTo>
                    <a:pt x="43481" y="101934"/>
                    <a:pt x="34480" y="105462"/>
                    <a:pt x="26368" y="109998"/>
                  </a:cubicBezTo>
                  <a:cubicBezTo>
                    <a:pt x="18254" y="114660"/>
                    <a:pt x="11916" y="120960"/>
                    <a:pt x="7099" y="128898"/>
                  </a:cubicBezTo>
                  <a:cubicBezTo>
                    <a:pt x="2409" y="136836"/>
                    <a:pt x="0" y="146916"/>
                    <a:pt x="0" y="159264"/>
                  </a:cubicBezTo>
                  <a:cubicBezTo>
                    <a:pt x="0" y="173502"/>
                    <a:pt x="3296" y="185598"/>
                    <a:pt x="9761" y="195426"/>
                  </a:cubicBezTo>
                  <a:cubicBezTo>
                    <a:pt x="16226" y="205254"/>
                    <a:pt x="25100" y="212688"/>
                    <a:pt x="36382" y="217854"/>
                  </a:cubicBezTo>
                  <a:cubicBezTo>
                    <a:pt x="47664" y="223020"/>
                    <a:pt x="60087" y="225540"/>
                    <a:pt x="74031" y="225540"/>
                  </a:cubicBezTo>
                  <a:cubicBezTo>
                    <a:pt x="86074" y="225540"/>
                    <a:pt x="96469" y="223776"/>
                    <a:pt x="105089" y="220248"/>
                  </a:cubicBezTo>
                  <a:cubicBezTo>
                    <a:pt x="113709" y="216720"/>
                    <a:pt x="120808" y="212310"/>
                    <a:pt x="126386" y="207018"/>
                  </a:cubicBezTo>
                  <a:cubicBezTo>
                    <a:pt x="131837" y="201726"/>
                    <a:pt x="136020" y="196308"/>
                    <a:pt x="138809" y="190890"/>
                  </a:cubicBezTo>
                  <a:lnTo>
                    <a:pt x="140584" y="190890"/>
                  </a:lnTo>
                  <a:lnTo>
                    <a:pt x="140584" y="220626"/>
                  </a:lnTo>
                  <a:lnTo>
                    <a:pt x="182290" y="220626"/>
                  </a:lnTo>
                  <a:lnTo>
                    <a:pt x="182290" y="75978"/>
                  </a:lnTo>
                  <a:cubicBezTo>
                    <a:pt x="182290" y="60102"/>
                    <a:pt x="179501" y="47124"/>
                    <a:pt x="173923" y="37170"/>
                  </a:cubicBezTo>
                  <a:cubicBezTo>
                    <a:pt x="168219" y="27216"/>
                    <a:pt x="161247" y="19530"/>
                    <a:pt x="152627" y="14112"/>
                  </a:cubicBezTo>
                  <a:close/>
                  <a:moveTo>
                    <a:pt x="139443" y="142002"/>
                  </a:moveTo>
                  <a:cubicBezTo>
                    <a:pt x="139443" y="150570"/>
                    <a:pt x="137161" y="158634"/>
                    <a:pt x="132851" y="166194"/>
                  </a:cubicBezTo>
                  <a:cubicBezTo>
                    <a:pt x="128414" y="173754"/>
                    <a:pt x="122076" y="179802"/>
                    <a:pt x="113582" y="184464"/>
                  </a:cubicBezTo>
                  <a:cubicBezTo>
                    <a:pt x="105216" y="189126"/>
                    <a:pt x="95075" y="191394"/>
                    <a:pt x="83285" y="191394"/>
                  </a:cubicBezTo>
                  <a:cubicBezTo>
                    <a:pt x="71243" y="191394"/>
                    <a:pt x="61228" y="188748"/>
                    <a:pt x="53495" y="183330"/>
                  </a:cubicBezTo>
                  <a:cubicBezTo>
                    <a:pt x="45636" y="178038"/>
                    <a:pt x="41833" y="170100"/>
                    <a:pt x="41833" y="159642"/>
                  </a:cubicBezTo>
                  <a:cubicBezTo>
                    <a:pt x="41833" y="152082"/>
                    <a:pt x="43861" y="146034"/>
                    <a:pt x="47918" y="141372"/>
                  </a:cubicBezTo>
                  <a:cubicBezTo>
                    <a:pt x="51974" y="136836"/>
                    <a:pt x="57425" y="133308"/>
                    <a:pt x="64144" y="130788"/>
                  </a:cubicBezTo>
                  <a:cubicBezTo>
                    <a:pt x="70989" y="128394"/>
                    <a:pt x="78468" y="126630"/>
                    <a:pt x="86708" y="125496"/>
                  </a:cubicBezTo>
                  <a:cubicBezTo>
                    <a:pt x="90257" y="124992"/>
                    <a:pt x="94567" y="124488"/>
                    <a:pt x="99892" y="123732"/>
                  </a:cubicBezTo>
                  <a:cubicBezTo>
                    <a:pt x="105089" y="122976"/>
                    <a:pt x="110540" y="122220"/>
                    <a:pt x="115991" y="121338"/>
                  </a:cubicBezTo>
                  <a:cubicBezTo>
                    <a:pt x="121442" y="120456"/>
                    <a:pt x="126386" y="119322"/>
                    <a:pt x="130823" y="118062"/>
                  </a:cubicBezTo>
                  <a:cubicBezTo>
                    <a:pt x="135133" y="116802"/>
                    <a:pt x="138049" y="115416"/>
                    <a:pt x="139570" y="113904"/>
                  </a:cubicBezTo>
                  <a:lnTo>
                    <a:pt x="139570" y="14200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4" name="Freihandform 30">
              <a:extLst>
                <a:ext uri="{FF2B5EF4-FFF2-40B4-BE49-F238E27FC236}">
                  <a16:creationId xmlns:a16="http://schemas.microsoft.com/office/drawing/2014/main" id="{4CD6FB8B-DE54-4690-B9D4-F6C26DA2CE2C}"/>
                </a:ext>
              </a:extLst>
            </p:cNvPr>
            <p:cNvSpPr/>
            <p:nvPr/>
          </p:nvSpPr>
          <p:spPr bwMode="invGray">
            <a:xfrm>
              <a:off x="1341693" y="361466"/>
              <a:ext cx="43766" cy="64412"/>
            </a:xfrm>
            <a:custGeom>
              <a:avLst/>
              <a:gdLst>
                <a:gd name="connsiteX0" fmla="*/ 155415 w 200163"/>
                <a:gd name="connsiteY0" fmla="*/ 83034 h 294588"/>
                <a:gd name="connsiteX1" fmla="*/ 108132 w 200163"/>
                <a:gd name="connsiteY1" fmla="*/ 69678 h 294588"/>
                <a:gd name="connsiteX2" fmla="*/ 75299 w 200163"/>
                <a:gd name="connsiteY2" fmla="*/ 76356 h 294588"/>
                <a:gd name="connsiteX3" fmla="*/ 55904 w 200163"/>
                <a:gd name="connsiteY3" fmla="*/ 91980 h 294588"/>
                <a:gd name="connsiteX4" fmla="*/ 45129 w 200163"/>
                <a:gd name="connsiteY4" fmla="*/ 107730 h 294588"/>
                <a:gd name="connsiteX5" fmla="*/ 42594 w 200163"/>
                <a:gd name="connsiteY5" fmla="*/ 107730 h 294588"/>
                <a:gd name="connsiteX6" fmla="*/ 42594 w 200163"/>
                <a:gd name="connsiteY6" fmla="*/ 0 h 294588"/>
                <a:gd name="connsiteX7" fmla="*/ 0 w 200163"/>
                <a:gd name="connsiteY7" fmla="*/ 0 h 294588"/>
                <a:gd name="connsiteX8" fmla="*/ 0 w 200163"/>
                <a:gd name="connsiteY8" fmla="*/ 290304 h 294588"/>
                <a:gd name="connsiteX9" fmla="*/ 41579 w 200163"/>
                <a:gd name="connsiteY9" fmla="*/ 290304 h 294588"/>
                <a:gd name="connsiteX10" fmla="*/ 41579 w 200163"/>
                <a:gd name="connsiteY10" fmla="*/ 256410 h 294588"/>
                <a:gd name="connsiteX11" fmla="*/ 45129 w 200163"/>
                <a:gd name="connsiteY11" fmla="*/ 256410 h 294588"/>
                <a:gd name="connsiteX12" fmla="*/ 56157 w 200163"/>
                <a:gd name="connsiteY12" fmla="*/ 272286 h 294588"/>
                <a:gd name="connsiteX13" fmla="*/ 75933 w 200163"/>
                <a:gd name="connsiteY13" fmla="*/ 287910 h 294588"/>
                <a:gd name="connsiteX14" fmla="*/ 108512 w 200163"/>
                <a:gd name="connsiteY14" fmla="*/ 294588 h 294588"/>
                <a:gd name="connsiteX15" fmla="*/ 155796 w 200163"/>
                <a:gd name="connsiteY15" fmla="*/ 281106 h 294588"/>
                <a:gd name="connsiteX16" fmla="*/ 188375 w 200163"/>
                <a:gd name="connsiteY16" fmla="*/ 242424 h 294588"/>
                <a:gd name="connsiteX17" fmla="*/ 200164 w 200163"/>
                <a:gd name="connsiteY17" fmla="*/ 181944 h 294588"/>
                <a:gd name="connsiteX18" fmla="*/ 188248 w 200163"/>
                <a:gd name="connsiteY18" fmla="*/ 121590 h 294588"/>
                <a:gd name="connsiteX19" fmla="*/ 155415 w 200163"/>
                <a:gd name="connsiteY19" fmla="*/ 83034 h 294588"/>
                <a:gd name="connsiteX20" fmla="*/ 150345 w 200163"/>
                <a:gd name="connsiteY20" fmla="*/ 220752 h 294588"/>
                <a:gd name="connsiteX21" fmla="*/ 130823 w 200163"/>
                <a:gd name="connsiteY21" fmla="*/ 248346 h 294588"/>
                <a:gd name="connsiteX22" fmla="*/ 98878 w 200163"/>
                <a:gd name="connsiteY22" fmla="*/ 258426 h 294588"/>
                <a:gd name="connsiteX23" fmla="*/ 67820 w 200163"/>
                <a:gd name="connsiteY23" fmla="*/ 248724 h 294588"/>
                <a:gd name="connsiteX24" fmla="*/ 48425 w 200163"/>
                <a:gd name="connsiteY24" fmla="*/ 221760 h 294588"/>
                <a:gd name="connsiteX25" fmla="*/ 41706 w 200163"/>
                <a:gd name="connsiteY25" fmla="*/ 181440 h 294588"/>
                <a:gd name="connsiteX26" fmla="*/ 48298 w 200163"/>
                <a:gd name="connsiteY26" fmla="*/ 141750 h 294588"/>
                <a:gd name="connsiteX27" fmla="*/ 67567 w 200163"/>
                <a:gd name="connsiteY27" fmla="*/ 115290 h 294588"/>
                <a:gd name="connsiteX28" fmla="*/ 98878 w 200163"/>
                <a:gd name="connsiteY28" fmla="*/ 105840 h 294588"/>
                <a:gd name="connsiteX29" fmla="*/ 131076 w 200163"/>
                <a:gd name="connsiteY29" fmla="*/ 115794 h 294588"/>
                <a:gd name="connsiteX30" fmla="*/ 150471 w 200163"/>
                <a:gd name="connsiteY30" fmla="*/ 142884 h 294588"/>
                <a:gd name="connsiteX31" fmla="*/ 156937 w 200163"/>
                <a:gd name="connsiteY31" fmla="*/ 181566 h 294588"/>
                <a:gd name="connsiteX32" fmla="*/ 150345 w 200163"/>
                <a:gd name="connsiteY32" fmla="*/ 220752 h 29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163" h="294588">
                  <a:moveTo>
                    <a:pt x="155415" y="83034"/>
                  </a:moveTo>
                  <a:cubicBezTo>
                    <a:pt x="141598" y="74214"/>
                    <a:pt x="125752" y="69678"/>
                    <a:pt x="108132" y="69678"/>
                  </a:cubicBezTo>
                  <a:cubicBezTo>
                    <a:pt x="94567" y="69678"/>
                    <a:pt x="83539" y="71946"/>
                    <a:pt x="75299" y="76356"/>
                  </a:cubicBezTo>
                  <a:cubicBezTo>
                    <a:pt x="66933" y="80892"/>
                    <a:pt x="60468" y="86058"/>
                    <a:pt x="55904" y="91980"/>
                  </a:cubicBezTo>
                  <a:cubicBezTo>
                    <a:pt x="51214" y="97902"/>
                    <a:pt x="47664" y="103194"/>
                    <a:pt x="45129" y="107730"/>
                  </a:cubicBezTo>
                  <a:lnTo>
                    <a:pt x="42594" y="107730"/>
                  </a:lnTo>
                  <a:lnTo>
                    <a:pt x="42594" y="0"/>
                  </a:lnTo>
                  <a:lnTo>
                    <a:pt x="0" y="0"/>
                  </a:lnTo>
                  <a:lnTo>
                    <a:pt x="0" y="290304"/>
                  </a:lnTo>
                  <a:lnTo>
                    <a:pt x="41579" y="290304"/>
                  </a:lnTo>
                  <a:lnTo>
                    <a:pt x="41579" y="256410"/>
                  </a:lnTo>
                  <a:lnTo>
                    <a:pt x="45129" y="256410"/>
                  </a:lnTo>
                  <a:cubicBezTo>
                    <a:pt x="47664" y="261072"/>
                    <a:pt x="51341" y="266364"/>
                    <a:pt x="56157" y="272286"/>
                  </a:cubicBezTo>
                  <a:cubicBezTo>
                    <a:pt x="60848" y="278208"/>
                    <a:pt x="67567" y="283500"/>
                    <a:pt x="75933" y="287910"/>
                  </a:cubicBezTo>
                  <a:cubicBezTo>
                    <a:pt x="84299" y="292320"/>
                    <a:pt x="95202" y="294588"/>
                    <a:pt x="108512" y="294588"/>
                  </a:cubicBezTo>
                  <a:cubicBezTo>
                    <a:pt x="126133" y="294588"/>
                    <a:pt x="141978" y="290052"/>
                    <a:pt x="155796" y="281106"/>
                  </a:cubicBezTo>
                  <a:cubicBezTo>
                    <a:pt x="169613" y="272034"/>
                    <a:pt x="180388" y="259182"/>
                    <a:pt x="188375" y="242424"/>
                  </a:cubicBezTo>
                  <a:cubicBezTo>
                    <a:pt x="196234" y="225666"/>
                    <a:pt x="200164" y="205506"/>
                    <a:pt x="200164" y="181944"/>
                  </a:cubicBezTo>
                  <a:cubicBezTo>
                    <a:pt x="200164" y="158382"/>
                    <a:pt x="196234" y="138222"/>
                    <a:pt x="188248" y="121590"/>
                  </a:cubicBezTo>
                  <a:cubicBezTo>
                    <a:pt x="180262" y="104832"/>
                    <a:pt x="169360" y="91980"/>
                    <a:pt x="155415" y="83034"/>
                  </a:cubicBezTo>
                  <a:close/>
                  <a:moveTo>
                    <a:pt x="150345" y="220752"/>
                  </a:moveTo>
                  <a:cubicBezTo>
                    <a:pt x="145908" y="232344"/>
                    <a:pt x="139443" y="241542"/>
                    <a:pt x="130823" y="248346"/>
                  </a:cubicBezTo>
                  <a:cubicBezTo>
                    <a:pt x="122329" y="255150"/>
                    <a:pt x="111554" y="258426"/>
                    <a:pt x="98878" y="258426"/>
                  </a:cubicBezTo>
                  <a:cubicBezTo>
                    <a:pt x="86582" y="258426"/>
                    <a:pt x="76313" y="255150"/>
                    <a:pt x="67820" y="248724"/>
                  </a:cubicBezTo>
                  <a:cubicBezTo>
                    <a:pt x="59326" y="242298"/>
                    <a:pt x="52862" y="233226"/>
                    <a:pt x="48425" y="221760"/>
                  </a:cubicBezTo>
                  <a:cubicBezTo>
                    <a:pt x="43988" y="210294"/>
                    <a:pt x="41706" y="196812"/>
                    <a:pt x="41706" y="181440"/>
                  </a:cubicBezTo>
                  <a:cubicBezTo>
                    <a:pt x="41706" y="166320"/>
                    <a:pt x="43861" y="153090"/>
                    <a:pt x="48298" y="141750"/>
                  </a:cubicBezTo>
                  <a:cubicBezTo>
                    <a:pt x="52608" y="130410"/>
                    <a:pt x="59073" y="121590"/>
                    <a:pt x="67567" y="115290"/>
                  </a:cubicBezTo>
                  <a:cubicBezTo>
                    <a:pt x="76060" y="108990"/>
                    <a:pt x="86455" y="105840"/>
                    <a:pt x="98878" y="105840"/>
                  </a:cubicBezTo>
                  <a:cubicBezTo>
                    <a:pt x="111681" y="105840"/>
                    <a:pt x="122456" y="109116"/>
                    <a:pt x="131076" y="115794"/>
                  </a:cubicBezTo>
                  <a:cubicBezTo>
                    <a:pt x="139697" y="122472"/>
                    <a:pt x="146161" y="131418"/>
                    <a:pt x="150471" y="142884"/>
                  </a:cubicBezTo>
                  <a:cubicBezTo>
                    <a:pt x="154781" y="154350"/>
                    <a:pt x="156937" y="167202"/>
                    <a:pt x="156937" y="181566"/>
                  </a:cubicBezTo>
                  <a:cubicBezTo>
                    <a:pt x="156937" y="196056"/>
                    <a:pt x="154781" y="209160"/>
                    <a:pt x="150345" y="220752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5" name="Freihandform 31">
              <a:extLst>
                <a:ext uri="{FF2B5EF4-FFF2-40B4-BE49-F238E27FC236}">
                  <a16:creationId xmlns:a16="http://schemas.microsoft.com/office/drawing/2014/main" id="{0776F73C-2EA7-438E-9F38-7669ABC7897E}"/>
                </a:ext>
              </a:extLst>
            </p:cNvPr>
            <p:cNvSpPr/>
            <p:nvPr/>
          </p:nvSpPr>
          <p:spPr bwMode="invGray">
            <a:xfrm>
              <a:off x="1393026" y="376728"/>
              <a:ext cx="43378" cy="49204"/>
            </a:xfrm>
            <a:custGeom>
              <a:avLst/>
              <a:gdLst>
                <a:gd name="connsiteX0" fmla="*/ 168472 w 198388"/>
                <a:gd name="connsiteY0" fmla="*/ 25200 h 225035"/>
                <a:gd name="connsiteX1" fmla="*/ 137288 w 198388"/>
                <a:gd name="connsiteY1" fmla="*/ 6048 h 225035"/>
                <a:gd name="connsiteX2" fmla="*/ 101286 w 198388"/>
                <a:gd name="connsiteY2" fmla="*/ 0 h 225035"/>
                <a:gd name="connsiteX3" fmla="*/ 48044 w 198388"/>
                <a:gd name="connsiteY3" fmla="*/ 14364 h 225035"/>
                <a:gd name="connsiteX4" fmla="*/ 12677 w 198388"/>
                <a:gd name="connsiteY4" fmla="*/ 54180 h 225035"/>
                <a:gd name="connsiteX5" fmla="*/ 0 w 198388"/>
                <a:gd name="connsiteY5" fmla="*/ 113148 h 225035"/>
                <a:gd name="connsiteX6" fmla="*/ 12677 w 198388"/>
                <a:gd name="connsiteY6" fmla="*/ 172242 h 225035"/>
                <a:gd name="connsiteX7" fmla="*/ 48551 w 198388"/>
                <a:gd name="connsiteY7" fmla="*/ 211176 h 225035"/>
                <a:gd name="connsiteX8" fmla="*/ 104328 w 198388"/>
                <a:gd name="connsiteY8" fmla="*/ 225036 h 225035"/>
                <a:gd name="connsiteX9" fmla="*/ 147048 w 198388"/>
                <a:gd name="connsiteY9" fmla="*/ 217728 h 225035"/>
                <a:gd name="connsiteX10" fmla="*/ 178233 w 198388"/>
                <a:gd name="connsiteY10" fmla="*/ 197190 h 225035"/>
                <a:gd name="connsiteX11" fmla="*/ 195600 w 198388"/>
                <a:gd name="connsiteY11" fmla="*/ 166194 h 225035"/>
                <a:gd name="connsiteX12" fmla="*/ 155289 w 198388"/>
                <a:gd name="connsiteY12" fmla="*/ 159012 h 225035"/>
                <a:gd name="connsiteX13" fmla="*/ 144133 w 198388"/>
                <a:gd name="connsiteY13" fmla="*/ 176148 h 225035"/>
                <a:gd name="connsiteX14" fmla="*/ 126893 w 198388"/>
                <a:gd name="connsiteY14" fmla="*/ 186606 h 225035"/>
                <a:gd name="connsiteX15" fmla="*/ 104835 w 198388"/>
                <a:gd name="connsiteY15" fmla="*/ 190134 h 225035"/>
                <a:gd name="connsiteX16" fmla="*/ 72130 w 198388"/>
                <a:gd name="connsiteY16" fmla="*/ 182070 h 225035"/>
                <a:gd name="connsiteX17" fmla="*/ 50453 w 198388"/>
                <a:gd name="connsiteY17" fmla="*/ 158760 h 225035"/>
                <a:gd name="connsiteX18" fmla="*/ 42974 w 198388"/>
                <a:gd name="connsiteY18" fmla="*/ 124614 h 225035"/>
                <a:gd name="connsiteX19" fmla="*/ 198389 w 198388"/>
                <a:gd name="connsiteY19" fmla="*/ 124614 h 225035"/>
                <a:gd name="connsiteX20" fmla="*/ 198389 w 198388"/>
                <a:gd name="connsiteY20" fmla="*/ 109620 h 225035"/>
                <a:gd name="connsiteX21" fmla="*/ 190403 w 198388"/>
                <a:gd name="connsiteY21" fmla="*/ 59220 h 225035"/>
                <a:gd name="connsiteX22" fmla="*/ 168472 w 198388"/>
                <a:gd name="connsiteY22" fmla="*/ 25200 h 225035"/>
                <a:gd name="connsiteX23" fmla="*/ 42974 w 198388"/>
                <a:gd name="connsiteY23" fmla="*/ 92736 h 225035"/>
                <a:gd name="connsiteX24" fmla="*/ 49692 w 198388"/>
                <a:gd name="connsiteY24" fmla="*/ 66402 h 225035"/>
                <a:gd name="connsiteX25" fmla="*/ 70228 w 198388"/>
                <a:gd name="connsiteY25" fmla="*/ 43722 h 225035"/>
                <a:gd name="connsiteX26" fmla="*/ 101539 w 198388"/>
                <a:gd name="connsiteY26" fmla="*/ 35028 h 225035"/>
                <a:gd name="connsiteX27" fmla="*/ 130442 w 198388"/>
                <a:gd name="connsiteY27" fmla="*/ 42588 h 225035"/>
                <a:gd name="connsiteX28" fmla="*/ 149584 w 198388"/>
                <a:gd name="connsiteY28" fmla="*/ 63126 h 225035"/>
                <a:gd name="connsiteX29" fmla="*/ 156429 w 198388"/>
                <a:gd name="connsiteY29" fmla="*/ 92862 h 225035"/>
                <a:gd name="connsiteX30" fmla="*/ 42974 w 198388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8" h="225035">
                  <a:moveTo>
                    <a:pt x="168472" y="25200"/>
                  </a:moveTo>
                  <a:cubicBezTo>
                    <a:pt x="159218" y="16506"/>
                    <a:pt x="148823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3" y="0"/>
                    <a:pt x="63256" y="4788"/>
                    <a:pt x="48044" y="14364"/>
                  </a:cubicBezTo>
                  <a:cubicBezTo>
                    <a:pt x="32832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3" y="155484"/>
                    <a:pt x="12677" y="172242"/>
                  </a:cubicBezTo>
                  <a:cubicBezTo>
                    <a:pt x="21043" y="189000"/>
                    <a:pt x="33086" y="201978"/>
                    <a:pt x="48551" y="211176"/>
                  </a:cubicBezTo>
                  <a:cubicBezTo>
                    <a:pt x="64144" y="220374"/>
                    <a:pt x="82651" y="225036"/>
                    <a:pt x="104328" y="225036"/>
                  </a:cubicBezTo>
                  <a:cubicBezTo>
                    <a:pt x="120301" y="225036"/>
                    <a:pt x="134499" y="222642"/>
                    <a:pt x="147048" y="217728"/>
                  </a:cubicBezTo>
                  <a:cubicBezTo>
                    <a:pt x="159599" y="212814"/>
                    <a:pt x="169993" y="206010"/>
                    <a:pt x="178233" y="197190"/>
                  </a:cubicBezTo>
                  <a:cubicBezTo>
                    <a:pt x="186600" y="188370"/>
                    <a:pt x="192304" y="178038"/>
                    <a:pt x="195600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5" y="190134"/>
                  </a:cubicBezTo>
                  <a:cubicBezTo>
                    <a:pt x="92412" y="190134"/>
                    <a:pt x="81511" y="187488"/>
                    <a:pt x="72130" y="182070"/>
                  </a:cubicBezTo>
                  <a:cubicBezTo>
                    <a:pt x="62876" y="176778"/>
                    <a:pt x="55523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2" y="66402"/>
                  </a:cubicBezTo>
                  <a:cubicBezTo>
                    <a:pt x="54509" y="57078"/>
                    <a:pt x="61355" y="49518"/>
                    <a:pt x="70228" y="43722"/>
                  </a:cubicBezTo>
                  <a:cubicBezTo>
                    <a:pt x="79102" y="37926"/>
                    <a:pt x="89497" y="35028"/>
                    <a:pt x="101539" y="35028"/>
                  </a:cubicBezTo>
                  <a:cubicBezTo>
                    <a:pt x="112568" y="35028"/>
                    <a:pt x="122202" y="37548"/>
                    <a:pt x="130442" y="42588"/>
                  </a:cubicBezTo>
                  <a:cubicBezTo>
                    <a:pt x="138682" y="47628"/>
                    <a:pt x="145020" y="54432"/>
                    <a:pt x="149584" y="63126"/>
                  </a:cubicBezTo>
                  <a:cubicBezTo>
                    <a:pt x="154147" y="71820"/>
                    <a:pt x="156429" y="81648"/>
                    <a:pt x="156429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6" name="Freihandform 32">
              <a:extLst>
                <a:ext uri="{FF2B5EF4-FFF2-40B4-BE49-F238E27FC236}">
                  <a16:creationId xmlns:a16="http://schemas.microsoft.com/office/drawing/2014/main" id="{96A47144-B517-4D9E-9D34-8B4529613420}"/>
                </a:ext>
              </a:extLst>
            </p:cNvPr>
            <p:cNvSpPr/>
            <p:nvPr/>
          </p:nvSpPr>
          <p:spPr bwMode="invGray">
            <a:xfrm>
              <a:off x="144225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3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3 w 123723"/>
                <a:gd name="connsiteY16" fmla="*/ 247590 h 272810"/>
                <a:gd name="connsiteX17" fmla="*/ 64651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8" y="234738"/>
                    <a:pt x="104456" y="234990"/>
                    <a:pt x="101033" y="234990"/>
                  </a:cubicBezTo>
                  <a:cubicBezTo>
                    <a:pt x="96342" y="234990"/>
                    <a:pt x="92032" y="234234"/>
                    <a:pt x="88103" y="232848"/>
                  </a:cubicBezTo>
                  <a:cubicBezTo>
                    <a:pt x="84173" y="231336"/>
                    <a:pt x="81004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3" y="247590"/>
                  </a:cubicBezTo>
                  <a:cubicBezTo>
                    <a:pt x="47031" y="256284"/>
                    <a:pt x="54890" y="262710"/>
                    <a:pt x="64651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9" y="272160"/>
                    <a:pt x="113202" y="271152"/>
                  </a:cubicBezTo>
                  <a:cubicBezTo>
                    <a:pt x="117766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7" y="233352"/>
                    <a:pt x="112568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7" name="Freihandform 33">
              <a:extLst>
                <a:ext uri="{FF2B5EF4-FFF2-40B4-BE49-F238E27FC236}">
                  <a16:creationId xmlns:a16="http://schemas.microsoft.com/office/drawing/2014/main" id="{6675D025-AB85-467D-AF5E-E67FCC064833}"/>
                </a:ext>
              </a:extLst>
            </p:cNvPr>
            <p:cNvSpPr/>
            <p:nvPr/>
          </p:nvSpPr>
          <p:spPr bwMode="invGray">
            <a:xfrm>
              <a:off x="1474182" y="365956"/>
              <a:ext cx="27052" cy="59650"/>
            </a:xfrm>
            <a:custGeom>
              <a:avLst/>
              <a:gdLst>
                <a:gd name="connsiteX0" fmla="*/ 110033 w 123723"/>
                <a:gd name="connsiteY0" fmla="*/ 234234 h 272810"/>
                <a:gd name="connsiteX1" fmla="*/ 101033 w 123723"/>
                <a:gd name="connsiteY1" fmla="*/ 234990 h 272810"/>
                <a:gd name="connsiteX2" fmla="*/ 88102 w 123723"/>
                <a:gd name="connsiteY2" fmla="*/ 232848 h 272810"/>
                <a:gd name="connsiteX3" fmla="*/ 78468 w 123723"/>
                <a:gd name="connsiteY3" fmla="*/ 224532 h 272810"/>
                <a:gd name="connsiteX4" fmla="*/ 74792 w 123723"/>
                <a:gd name="connsiteY4" fmla="*/ 206010 h 272810"/>
                <a:gd name="connsiteX5" fmla="*/ 74792 w 123723"/>
                <a:gd name="connsiteY5" fmla="*/ 86184 h 272810"/>
                <a:gd name="connsiteX6" fmla="*/ 119667 w 123723"/>
                <a:gd name="connsiteY6" fmla="*/ 86184 h 272810"/>
                <a:gd name="connsiteX7" fmla="*/ 119667 w 123723"/>
                <a:gd name="connsiteY7" fmla="*/ 52164 h 272810"/>
                <a:gd name="connsiteX8" fmla="*/ 74792 w 123723"/>
                <a:gd name="connsiteY8" fmla="*/ 52164 h 272810"/>
                <a:gd name="connsiteX9" fmla="*/ 74792 w 123723"/>
                <a:gd name="connsiteY9" fmla="*/ 0 h 272810"/>
                <a:gd name="connsiteX10" fmla="*/ 32072 w 123723"/>
                <a:gd name="connsiteY10" fmla="*/ 0 h 272810"/>
                <a:gd name="connsiteX11" fmla="*/ 32072 w 123723"/>
                <a:gd name="connsiteY11" fmla="*/ 52164 h 272810"/>
                <a:gd name="connsiteX12" fmla="*/ 0 w 123723"/>
                <a:gd name="connsiteY12" fmla="*/ 52164 h 272810"/>
                <a:gd name="connsiteX13" fmla="*/ 0 w 123723"/>
                <a:gd name="connsiteY13" fmla="*/ 86184 h 272810"/>
                <a:gd name="connsiteX14" fmla="*/ 32072 w 123723"/>
                <a:gd name="connsiteY14" fmla="*/ 86184 h 272810"/>
                <a:gd name="connsiteX15" fmla="*/ 32072 w 123723"/>
                <a:gd name="connsiteY15" fmla="*/ 214830 h 272810"/>
                <a:gd name="connsiteX16" fmla="*/ 41072 w 123723"/>
                <a:gd name="connsiteY16" fmla="*/ 247590 h 272810"/>
                <a:gd name="connsiteX17" fmla="*/ 64650 w 123723"/>
                <a:gd name="connsiteY17" fmla="*/ 266868 h 272810"/>
                <a:gd name="connsiteX18" fmla="*/ 96089 w 123723"/>
                <a:gd name="connsiteY18" fmla="*/ 272790 h 272810"/>
                <a:gd name="connsiteX19" fmla="*/ 113202 w 123723"/>
                <a:gd name="connsiteY19" fmla="*/ 271152 h 272810"/>
                <a:gd name="connsiteX20" fmla="*/ 123724 w 123723"/>
                <a:gd name="connsiteY20" fmla="*/ 268254 h 272810"/>
                <a:gd name="connsiteX21" fmla="*/ 115991 w 123723"/>
                <a:gd name="connsiteY21" fmla="*/ 233226 h 272810"/>
                <a:gd name="connsiteX22" fmla="*/ 110033 w 123723"/>
                <a:gd name="connsiteY22" fmla="*/ 234234 h 27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23" h="272810">
                  <a:moveTo>
                    <a:pt x="110033" y="234234"/>
                  </a:moveTo>
                  <a:cubicBezTo>
                    <a:pt x="107497" y="234738"/>
                    <a:pt x="104455" y="234990"/>
                    <a:pt x="101033" y="234990"/>
                  </a:cubicBezTo>
                  <a:cubicBezTo>
                    <a:pt x="96342" y="234990"/>
                    <a:pt x="92032" y="234234"/>
                    <a:pt x="88102" y="232848"/>
                  </a:cubicBezTo>
                  <a:cubicBezTo>
                    <a:pt x="84173" y="231336"/>
                    <a:pt x="81003" y="228564"/>
                    <a:pt x="78468" y="224532"/>
                  </a:cubicBezTo>
                  <a:cubicBezTo>
                    <a:pt x="76060" y="220374"/>
                    <a:pt x="74792" y="214200"/>
                    <a:pt x="74792" y="206010"/>
                  </a:cubicBezTo>
                  <a:lnTo>
                    <a:pt x="74792" y="86184"/>
                  </a:lnTo>
                  <a:lnTo>
                    <a:pt x="119667" y="86184"/>
                  </a:lnTo>
                  <a:lnTo>
                    <a:pt x="119667" y="52164"/>
                  </a:lnTo>
                  <a:lnTo>
                    <a:pt x="74792" y="52164"/>
                  </a:lnTo>
                  <a:lnTo>
                    <a:pt x="74792" y="0"/>
                  </a:lnTo>
                  <a:lnTo>
                    <a:pt x="32072" y="0"/>
                  </a:lnTo>
                  <a:lnTo>
                    <a:pt x="32072" y="52164"/>
                  </a:lnTo>
                  <a:lnTo>
                    <a:pt x="0" y="52164"/>
                  </a:lnTo>
                  <a:lnTo>
                    <a:pt x="0" y="86184"/>
                  </a:lnTo>
                  <a:lnTo>
                    <a:pt x="32072" y="86184"/>
                  </a:lnTo>
                  <a:lnTo>
                    <a:pt x="32072" y="214830"/>
                  </a:lnTo>
                  <a:cubicBezTo>
                    <a:pt x="32072" y="227934"/>
                    <a:pt x="35114" y="238896"/>
                    <a:pt x="41072" y="247590"/>
                  </a:cubicBezTo>
                  <a:cubicBezTo>
                    <a:pt x="47030" y="256284"/>
                    <a:pt x="54890" y="262710"/>
                    <a:pt x="64650" y="266868"/>
                  </a:cubicBezTo>
                  <a:cubicBezTo>
                    <a:pt x="74285" y="271026"/>
                    <a:pt x="84807" y="273042"/>
                    <a:pt x="96089" y="272790"/>
                  </a:cubicBezTo>
                  <a:cubicBezTo>
                    <a:pt x="102934" y="272664"/>
                    <a:pt x="108638" y="272160"/>
                    <a:pt x="113202" y="271152"/>
                  </a:cubicBezTo>
                  <a:cubicBezTo>
                    <a:pt x="117765" y="270144"/>
                    <a:pt x="121315" y="269136"/>
                    <a:pt x="123724" y="268254"/>
                  </a:cubicBezTo>
                  <a:lnTo>
                    <a:pt x="115991" y="233226"/>
                  </a:lnTo>
                  <a:cubicBezTo>
                    <a:pt x="114596" y="233352"/>
                    <a:pt x="112695" y="233730"/>
                    <a:pt x="110033" y="234234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8" name="Freihandform 34">
              <a:extLst>
                <a:ext uri="{FF2B5EF4-FFF2-40B4-BE49-F238E27FC236}">
                  <a16:creationId xmlns:a16="http://schemas.microsoft.com/office/drawing/2014/main" id="{AB95B676-DB6F-411F-BA1D-501D07F12161}"/>
                </a:ext>
              </a:extLst>
            </p:cNvPr>
            <p:cNvSpPr/>
            <p:nvPr/>
          </p:nvSpPr>
          <p:spPr bwMode="invGray">
            <a:xfrm>
              <a:off x="1507803" y="376728"/>
              <a:ext cx="43378" cy="49204"/>
            </a:xfrm>
            <a:custGeom>
              <a:avLst/>
              <a:gdLst>
                <a:gd name="connsiteX0" fmla="*/ 168472 w 198389"/>
                <a:gd name="connsiteY0" fmla="*/ 25200 h 225035"/>
                <a:gd name="connsiteX1" fmla="*/ 137288 w 198389"/>
                <a:gd name="connsiteY1" fmla="*/ 6048 h 225035"/>
                <a:gd name="connsiteX2" fmla="*/ 101286 w 198389"/>
                <a:gd name="connsiteY2" fmla="*/ 0 h 225035"/>
                <a:gd name="connsiteX3" fmla="*/ 48044 w 198389"/>
                <a:gd name="connsiteY3" fmla="*/ 14364 h 225035"/>
                <a:gd name="connsiteX4" fmla="*/ 12677 w 198389"/>
                <a:gd name="connsiteY4" fmla="*/ 54180 h 225035"/>
                <a:gd name="connsiteX5" fmla="*/ 0 w 198389"/>
                <a:gd name="connsiteY5" fmla="*/ 113148 h 225035"/>
                <a:gd name="connsiteX6" fmla="*/ 12677 w 198389"/>
                <a:gd name="connsiteY6" fmla="*/ 172242 h 225035"/>
                <a:gd name="connsiteX7" fmla="*/ 48552 w 198389"/>
                <a:gd name="connsiteY7" fmla="*/ 211176 h 225035"/>
                <a:gd name="connsiteX8" fmla="*/ 104329 w 198389"/>
                <a:gd name="connsiteY8" fmla="*/ 225036 h 225035"/>
                <a:gd name="connsiteX9" fmla="*/ 147049 w 198389"/>
                <a:gd name="connsiteY9" fmla="*/ 217728 h 225035"/>
                <a:gd name="connsiteX10" fmla="*/ 178234 w 198389"/>
                <a:gd name="connsiteY10" fmla="*/ 197190 h 225035"/>
                <a:gd name="connsiteX11" fmla="*/ 195601 w 198389"/>
                <a:gd name="connsiteY11" fmla="*/ 166194 h 225035"/>
                <a:gd name="connsiteX12" fmla="*/ 155289 w 198389"/>
                <a:gd name="connsiteY12" fmla="*/ 159012 h 225035"/>
                <a:gd name="connsiteX13" fmla="*/ 144133 w 198389"/>
                <a:gd name="connsiteY13" fmla="*/ 176148 h 225035"/>
                <a:gd name="connsiteX14" fmla="*/ 126893 w 198389"/>
                <a:gd name="connsiteY14" fmla="*/ 186606 h 225035"/>
                <a:gd name="connsiteX15" fmla="*/ 104836 w 198389"/>
                <a:gd name="connsiteY15" fmla="*/ 190134 h 225035"/>
                <a:gd name="connsiteX16" fmla="*/ 72130 w 198389"/>
                <a:gd name="connsiteY16" fmla="*/ 182070 h 225035"/>
                <a:gd name="connsiteX17" fmla="*/ 50453 w 198389"/>
                <a:gd name="connsiteY17" fmla="*/ 158760 h 225035"/>
                <a:gd name="connsiteX18" fmla="*/ 42974 w 198389"/>
                <a:gd name="connsiteY18" fmla="*/ 124614 h 225035"/>
                <a:gd name="connsiteX19" fmla="*/ 198389 w 198389"/>
                <a:gd name="connsiteY19" fmla="*/ 124614 h 225035"/>
                <a:gd name="connsiteX20" fmla="*/ 198389 w 198389"/>
                <a:gd name="connsiteY20" fmla="*/ 109620 h 225035"/>
                <a:gd name="connsiteX21" fmla="*/ 190403 w 198389"/>
                <a:gd name="connsiteY21" fmla="*/ 59220 h 225035"/>
                <a:gd name="connsiteX22" fmla="*/ 168472 w 198389"/>
                <a:gd name="connsiteY22" fmla="*/ 25200 h 225035"/>
                <a:gd name="connsiteX23" fmla="*/ 42974 w 198389"/>
                <a:gd name="connsiteY23" fmla="*/ 92736 h 225035"/>
                <a:gd name="connsiteX24" fmla="*/ 49693 w 198389"/>
                <a:gd name="connsiteY24" fmla="*/ 66402 h 225035"/>
                <a:gd name="connsiteX25" fmla="*/ 70229 w 198389"/>
                <a:gd name="connsiteY25" fmla="*/ 43722 h 225035"/>
                <a:gd name="connsiteX26" fmla="*/ 101540 w 198389"/>
                <a:gd name="connsiteY26" fmla="*/ 35028 h 225035"/>
                <a:gd name="connsiteX27" fmla="*/ 130443 w 198389"/>
                <a:gd name="connsiteY27" fmla="*/ 42588 h 225035"/>
                <a:gd name="connsiteX28" fmla="*/ 149584 w 198389"/>
                <a:gd name="connsiteY28" fmla="*/ 63126 h 225035"/>
                <a:gd name="connsiteX29" fmla="*/ 156430 w 198389"/>
                <a:gd name="connsiteY29" fmla="*/ 92862 h 225035"/>
                <a:gd name="connsiteX30" fmla="*/ 42974 w 198389"/>
                <a:gd name="connsiteY30" fmla="*/ 92862 h 22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98389" h="225035">
                  <a:moveTo>
                    <a:pt x="168472" y="25200"/>
                  </a:moveTo>
                  <a:cubicBezTo>
                    <a:pt x="159219" y="16506"/>
                    <a:pt x="148824" y="10080"/>
                    <a:pt x="137288" y="6048"/>
                  </a:cubicBezTo>
                  <a:cubicBezTo>
                    <a:pt x="125625" y="2016"/>
                    <a:pt x="113709" y="0"/>
                    <a:pt x="101286" y="0"/>
                  </a:cubicBezTo>
                  <a:cubicBezTo>
                    <a:pt x="81004" y="0"/>
                    <a:pt x="63257" y="4788"/>
                    <a:pt x="48044" y="14364"/>
                  </a:cubicBezTo>
                  <a:cubicBezTo>
                    <a:pt x="32833" y="23940"/>
                    <a:pt x="21043" y="37170"/>
                    <a:pt x="12677" y="54180"/>
                  </a:cubicBezTo>
                  <a:cubicBezTo>
                    <a:pt x="4310" y="71190"/>
                    <a:pt x="0" y="90846"/>
                    <a:pt x="0" y="113148"/>
                  </a:cubicBezTo>
                  <a:cubicBezTo>
                    <a:pt x="0" y="135702"/>
                    <a:pt x="4184" y="155484"/>
                    <a:pt x="12677" y="172242"/>
                  </a:cubicBezTo>
                  <a:cubicBezTo>
                    <a:pt x="21043" y="189000"/>
                    <a:pt x="33086" y="201978"/>
                    <a:pt x="48552" y="211176"/>
                  </a:cubicBezTo>
                  <a:cubicBezTo>
                    <a:pt x="64144" y="220374"/>
                    <a:pt x="82652" y="225036"/>
                    <a:pt x="104329" y="225036"/>
                  </a:cubicBezTo>
                  <a:cubicBezTo>
                    <a:pt x="120301" y="225036"/>
                    <a:pt x="134499" y="222642"/>
                    <a:pt x="147049" y="217728"/>
                  </a:cubicBezTo>
                  <a:cubicBezTo>
                    <a:pt x="159599" y="212814"/>
                    <a:pt x="169993" y="206010"/>
                    <a:pt x="178234" y="197190"/>
                  </a:cubicBezTo>
                  <a:cubicBezTo>
                    <a:pt x="186600" y="188370"/>
                    <a:pt x="192304" y="178038"/>
                    <a:pt x="195601" y="166194"/>
                  </a:cubicBezTo>
                  <a:lnTo>
                    <a:pt x="155289" y="159012"/>
                  </a:lnTo>
                  <a:cubicBezTo>
                    <a:pt x="152753" y="165816"/>
                    <a:pt x="148950" y="171486"/>
                    <a:pt x="144133" y="176148"/>
                  </a:cubicBezTo>
                  <a:cubicBezTo>
                    <a:pt x="139316" y="180810"/>
                    <a:pt x="133485" y="184212"/>
                    <a:pt x="126893" y="186606"/>
                  </a:cubicBezTo>
                  <a:cubicBezTo>
                    <a:pt x="120174" y="188874"/>
                    <a:pt x="112822" y="190134"/>
                    <a:pt x="104836" y="190134"/>
                  </a:cubicBezTo>
                  <a:cubicBezTo>
                    <a:pt x="92413" y="190134"/>
                    <a:pt x="81511" y="187488"/>
                    <a:pt x="72130" y="182070"/>
                  </a:cubicBezTo>
                  <a:cubicBezTo>
                    <a:pt x="62876" y="176778"/>
                    <a:pt x="55524" y="168966"/>
                    <a:pt x="50453" y="158760"/>
                  </a:cubicBezTo>
                  <a:cubicBezTo>
                    <a:pt x="45636" y="149310"/>
                    <a:pt x="43354" y="137844"/>
                    <a:pt x="42974" y="124614"/>
                  </a:cubicBezTo>
                  <a:lnTo>
                    <a:pt x="198389" y="124614"/>
                  </a:lnTo>
                  <a:lnTo>
                    <a:pt x="198389" y="109620"/>
                  </a:lnTo>
                  <a:cubicBezTo>
                    <a:pt x="198389" y="89838"/>
                    <a:pt x="195727" y="73080"/>
                    <a:pt x="190403" y="59220"/>
                  </a:cubicBezTo>
                  <a:cubicBezTo>
                    <a:pt x="184952" y="45234"/>
                    <a:pt x="177726" y="33894"/>
                    <a:pt x="168472" y="25200"/>
                  </a:cubicBezTo>
                  <a:close/>
                  <a:moveTo>
                    <a:pt x="42974" y="92736"/>
                  </a:moveTo>
                  <a:cubicBezTo>
                    <a:pt x="43481" y="83412"/>
                    <a:pt x="45509" y="74592"/>
                    <a:pt x="49693" y="66402"/>
                  </a:cubicBezTo>
                  <a:cubicBezTo>
                    <a:pt x="54510" y="57078"/>
                    <a:pt x="61355" y="49518"/>
                    <a:pt x="70229" y="43722"/>
                  </a:cubicBezTo>
                  <a:cubicBezTo>
                    <a:pt x="79102" y="37926"/>
                    <a:pt x="89497" y="35028"/>
                    <a:pt x="101540" y="35028"/>
                  </a:cubicBezTo>
                  <a:cubicBezTo>
                    <a:pt x="112568" y="35028"/>
                    <a:pt x="122203" y="37548"/>
                    <a:pt x="130443" y="42588"/>
                  </a:cubicBezTo>
                  <a:cubicBezTo>
                    <a:pt x="138682" y="47628"/>
                    <a:pt x="145021" y="54432"/>
                    <a:pt x="149584" y="63126"/>
                  </a:cubicBezTo>
                  <a:cubicBezTo>
                    <a:pt x="154148" y="71820"/>
                    <a:pt x="156430" y="81648"/>
                    <a:pt x="156430" y="92862"/>
                  </a:cubicBezTo>
                  <a:lnTo>
                    <a:pt x="42974" y="92862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79" name="Freihandform 35">
              <a:extLst>
                <a:ext uri="{FF2B5EF4-FFF2-40B4-BE49-F238E27FC236}">
                  <a16:creationId xmlns:a16="http://schemas.microsoft.com/office/drawing/2014/main" id="{37D4CE77-3FC3-4C90-8C7C-52858E35942C}"/>
                </a:ext>
              </a:extLst>
            </p:cNvPr>
            <p:cNvSpPr/>
            <p:nvPr/>
          </p:nvSpPr>
          <p:spPr bwMode="invGray">
            <a:xfrm>
              <a:off x="1560854" y="376618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0" name="Freihandform 36">
              <a:extLst>
                <a:ext uri="{FF2B5EF4-FFF2-40B4-BE49-F238E27FC236}">
                  <a16:creationId xmlns:a16="http://schemas.microsoft.com/office/drawing/2014/main" id="{663953A3-132C-4F8A-A542-F246666170C7}"/>
                </a:ext>
              </a:extLst>
            </p:cNvPr>
            <p:cNvSpPr/>
            <p:nvPr/>
          </p:nvSpPr>
          <p:spPr bwMode="invGray">
            <a:xfrm>
              <a:off x="1125885" y="466265"/>
              <a:ext cx="67325" cy="47634"/>
            </a:xfrm>
            <a:custGeom>
              <a:avLst/>
              <a:gdLst>
                <a:gd name="connsiteX0" fmla="*/ 221207 w 307914"/>
                <a:gd name="connsiteY0" fmla="*/ 159264 h 217854"/>
                <a:gd name="connsiteX1" fmla="*/ 219052 w 307914"/>
                <a:gd name="connsiteY1" fmla="*/ 159264 h 217854"/>
                <a:gd name="connsiteX2" fmla="*/ 176205 w 307914"/>
                <a:gd name="connsiteY2" fmla="*/ 0 h 217854"/>
                <a:gd name="connsiteX3" fmla="*/ 132217 w 307914"/>
                <a:gd name="connsiteY3" fmla="*/ 0 h 217854"/>
                <a:gd name="connsiteX4" fmla="*/ 89117 w 307914"/>
                <a:gd name="connsiteY4" fmla="*/ 159894 h 217854"/>
                <a:gd name="connsiteX5" fmla="*/ 86961 w 307914"/>
                <a:gd name="connsiteY5" fmla="*/ 159894 h 217854"/>
                <a:gd name="connsiteX6" fmla="*/ 43988 w 307914"/>
                <a:gd name="connsiteY6" fmla="*/ 0 h 217854"/>
                <a:gd name="connsiteX7" fmla="*/ 0 w 307914"/>
                <a:gd name="connsiteY7" fmla="*/ 0 h 217854"/>
                <a:gd name="connsiteX8" fmla="*/ 64397 w 307914"/>
                <a:gd name="connsiteY8" fmla="*/ 217854 h 217854"/>
                <a:gd name="connsiteX9" fmla="*/ 107751 w 307914"/>
                <a:gd name="connsiteY9" fmla="*/ 217854 h 217854"/>
                <a:gd name="connsiteX10" fmla="*/ 152246 w 307914"/>
                <a:gd name="connsiteY10" fmla="*/ 60606 h 217854"/>
                <a:gd name="connsiteX11" fmla="*/ 155542 w 307914"/>
                <a:gd name="connsiteY11" fmla="*/ 60606 h 217854"/>
                <a:gd name="connsiteX12" fmla="*/ 200037 w 307914"/>
                <a:gd name="connsiteY12" fmla="*/ 217854 h 217854"/>
                <a:gd name="connsiteX13" fmla="*/ 243518 w 307914"/>
                <a:gd name="connsiteY13" fmla="*/ 217854 h 217854"/>
                <a:gd name="connsiteX14" fmla="*/ 307915 w 307914"/>
                <a:gd name="connsiteY14" fmla="*/ 0 h 217854"/>
                <a:gd name="connsiteX15" fmla="*/ 263800 w 307914"/>
                <a:gd name="connsiteY15" fmla="*/ 0 h 21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7914" h="217854">
                  <a:moveTo>
                    <a:pt x="221207" y="159264"/>
                  </a:moveTo>
                  <a:lnTo>
                    <a:pt x="219052" y="159264"/>
                  </a:lnTo>
                  <a:lnTo>
                    <a:pt x="176205" y="0"/>
                  </a:lnTo>
                  <a:lnTo>
                    <a:pt x="132217" y="0"/>
                  </a:lnTo>
                  <a:lnTo>
                    <a:pt x="89117" y="159894"/>
                  </a:lnTo>
                  <a:lnTo>
                    <a:pt x="86961" y="159894"/>
                  </a:lnTo>
                  <a:lnTo>
                    <a:pt x="43988" y="0"/>
                  </a:lnTo>
                  <a:lnTo>
                    <a:pt x="0" y="0"/>
                  </a:lnTo>
                  <a:lnTo>
                    <a:pt x="64397" y="217854"/>
                  </a:lnTo>
                  <a:lnTo>
                    <a:pt x="107751" y="217854"/>
                  </a:lnTo>
                  <a:lnTo>
                    <a:pt x="152246" y="60606"/>
                  </a:lnTo>
                  <a:lnTo>
                    <a:pt x="155542" y="60606"/>
                  </a:lnTo>
                  <a:lnTo>
                    <a:pt x="200037" y="217854"/>
                  </a:lnTo>
                  <a:lnTo>
                    <a:pt x="243518" y="217854"/>
                  </a:lnTo>
                  <a:lnTo>
                    <a:pt x="307915" y="0"/>
                  </a:lnTo>
                  <a:lnTo>
                    <a:pt x="263800" y="0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1" name="Freihandform 37">
              <a:extLst>
                <a:ext uri="{FF2B5EF4-FFF2-40B4-BE49-F238E27FC236}">
                  <a16:creationId xmlns:a16="http://schemas.microsoft.com/office/drawing/2014/main" id="{A9437713-E829-48C1-8155-9D1DB29E79D5}"/>
                </a:ext>
              </a:extLst>
            </p:cNvPr>
            <p:cNvSpPr/>
            <p:nvPr/>
          </p:nvSpPr>
          <p:spPr bwMode="invGray">
            <a:xfrm>
              <a:off x="1198532" y="465659"/>
              <a:ext cx="44625" cy="49177"/>
            </a:xfrm>
            <a:custGeom>
              <a:avLst/>
              <a:gdLst>
                <a:gd name="connsiteX0" fmla="*/ 155796 w 204093"/>
                <a:gd name="connsiteY0" fmla="*/ 13986 h 224910"/>
                <a:gd name="connsiteX1" fmla="*/ 102047 w 204093"/>
                <a:gd name="connsiteY1" fmla="*/ 0 h 224910"/>
                <a:gd name="connsiteX2" fmla="*/ 48298 w 204093"/>
                <a:gd name="connsiteY2" fmla="*/ 13986 h 224910"/>
                <a:gd name="connsiteX3" fmla="*/ 12677 w 204093"/>
                <a:gd name="connsiteY3" fmla="*/ 53424 h 224910"/>
                <a:gd name="connsiteX4" fmla="*/ 0 w 204093"/>
                <a:gd name="connsiteY4" fmla="*/ 112644 h 224910"/>
                <a:gd name="connsiteX5" fmla="*/ 12677 w 204093"/>
                <a:gd name="connsiteY5" fmla="*/ 171612 h 224910"/>
                <a:gd name="connsiteX6" fmla="*/ 48298 w 204093"/>
                <a:gd name="connsiteY6" fmla="*/ 210924 h 224910"/>
                <a:gd name="connsiteX7" fmla="*/ 102047 w 204093"/>
                <a:gd name="connsiteY7" fmla="*/ 224910 h 224910"/>
                <a:gd name="connsiteX8" fmla="*/ 155796 w 204093"/>
                <a:gd name="connsiteY8" fmla="*/ 210924 h 224910"/>
                <a:gd name="connsiteX9" fmla="*/ 191417 w 204093"/>
                <a:gd name="connsiteY9" fmla="*/ 171612 h 224910"/>
                <a:gd name="connsiteX10" fmla="*/ 204094 w 204093"/>
                <a:gd name="connsiteY10" fmla="*/ 112644 h 224910"/>
                <a:gd name="connsiteX11" fmla="*/ 191417 w 204093"/>
                <a:gd name="connsiteY11" fmla="*/ 53424 h 224910"/>
                <a:gd name="connsiteX12" fmla="*/ 155796 w 204093"/>
                <a:gd name="connsiteY12" fmla="*/ 13986 h 224910"/>
                <a:gd name="connsiteX13" fmla="*/ 154655 w 204093"/>
                <a:gd name="connsiteY13" fmla="*/ 150948 h 224910"/>
                <a:gd name="connsiteX14" fmla="*/ 135133 w 204093"/>
                <a:gd name="connsiteY14" fmla="*/ 178920 h 224910"/>
                <a:gd name="connsiteX15" fmla="*/ 102047 w 204093"/>
                <a:gd name="connsiteY15" fmla="*/ 189378 h 224910"/>
                <a:gd name="connsiteX16" fmla="*/ 68707 w 204093"/>
                <a:gd name="connsiteY16" fmla="*/ 178920 h 224910"/>
                <a:gd name="connsiteX17" fmla="*/ 49185 w 204093"/>
                <a:gd name="connsiteY17" fmla="*/ 150948 h 224910"/>
                <a:gd name="connsiteX18" fmla="*/ 42847 w 204093"/>
                <a:gd name="connsiteY18" fmla="*/ 112518 h 224910"/>
                <a:gd name="connsiteX19" fmla="*/ 49185 w 204093"/>
                <a:gd name="connsiteY19" fmla="*/ 74214 h 224910"/>
                <a:gd name="connsiteX20" fmla="*/ 68707 w 204093"/>
                <a:gd name="connsiteY20" fmla="*/ 46116 h 224910"/>
                <a:gd name="connsiteX21" fmla="*/ 102047 w 204093"/>
                <a:gd name="connsiteY21" fmla="*/ 35532 h 224910"/>
                <a:gd name="connsiteX22" fmla="*/ 135133 w 204093"/>
                <a:gd name="connsiteY22" fmla="*/ 46116 h 224910"/>
                <a:gd name="connsiteX23" fmla="*/ 154655 w 204093"/>
                <a:gd name="connsiteY23" fmla="*/ 74214 h 224910"/>
                <a:gd name="connsiteX24" fmla="*/ 160993 w 204093"/>
                <a:gd name="connsiteY24" fmla="*/ 112518 h 224910"/>
                <a:gd name="connsiteX25" fmla="*/ 154655 w 204093"/>
                <a:gd name="connsiteY25" fmla="*/ 150948 h 224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4093" h="224910">
                  <a:moveTo>
                    <a:pt x="155796" y="13986"/>
                  </a:moveTo>
                  <a:cubicBezTo>
                    <a:pt x="140457" y="4662"/>
                    <a:pt x="122583" y="0"/>
                    <a:pt x="102047" y="0"/>
                  </a:cubicBezTo>
                  <a:cubicBezTo>
                    <a:pt x="81511" y="0"/>
                    <a:pt x="63636" y="4662"/>
                    <a:pt x="48298" y="13986"/>
                  </a:cubicBezTo>
                  <a:cubicBezTo>
                    <a:pt x="32959" y="23310"/>
                    <a:pt x="21043" y="36540"/>
                    <a:pt x="12677" y="53424"/>
                  </a:cubicBezTo>
                  <a:cubicBezTo>
                    <a:pt x="4183" y="70308"/>
                    <a:pt x="0" y="90090"/>
                    <a:pt x="0" y="112644"/>
                  </a:cubicBezTo>
                  <a:cubicBezTo>
                    <a:pt x="0" y="135198"/>
                    <a:pt x="4310" y="154854"/>
                    <a:pt x="12677" y="171612"/>
                  </a:cubicBezTo>
                  <a:cubicBezTo>
                    <a:pt x="21170" y="188496"/>
                    <a:pt x="32959" y="201474"/>
                    <a:pt x="48298" y="210924"/>
                  </a:cubicBezTo>
                  <a:cubicBezTo>
                    <a:pt x="63636" y="220248"/>
                    <a:pt x="81511" y="224910"/>
                    <a:pt x="102047" y="224910"/>
                  </a:cubicBezTo>
                  <a:cubicBezTo>
                    <a:pt x="122583" y="224910"/>
                    <a:pt x="140457" y="220248"/>
                    <a:pt x="155796" y="210924"/>
                  </a:cubicBezTo>
                  <a:cubicBezTo>
                    <a:pt x="171134" y="201600"/>
                    <a:pt x="183050" y="188496"/>
                    <a:pt x="191417" y="171612"/>
                  </a:cubicBezTo>
                  <a:cubicBezTo>
                    <a:pt x="199910" y="154854"/>
                    <a:pt x="204094" y="135072"/>
                    <a:pt x="204094" y="112644"/>
                  </a:cubicBezTo>
                  <a:cubicBezTo>
                    <a:pt x="204094" y="90090"/>
                    <a:pt x="199910" y="70308"/>
                    <a:pt x="191417" y="53424"/>
                  </a:cubicBezTo>
                  <a:cubicBezTo>
                    <a:pt x="182924" y="36540"/>
                    <a:pt x="171007" y="23310"/>
                    <a:pt x="155796" y="13986"/>
                  </a:cubicBezTo>
                  <a:close/>
                  <a:moveTo>
                    <a:pt x="154655" y="150948"/>
                  </a:moveTo>
                  <a:cubicBezTo>
                    <a:pt x="150345" y="162540"/>
                    <a:pt x="143880" y="171864"/>
                    <a:pt x="135133" y="178920"/>
                  </a:cubicBezTo>
                  <a:cubicBezTo>
                    <a:pt x="126386" y="185976"/>
                    <a:pt x="115357" y="189378"/>
                    <a:pt x="102047" y="189378"/>
                  </a:cubicBezTo>
                  <a:cubicBezTo>
                    <a:pt x="88609" y="189378"/>
                    <a:pt x="77581" y="185850"/>
                    <a:pt x="68707" y="178920"/>
                  </a:cubicBezTo>
                  <a:cubicBezTo>
                    <a:pt x="59961" y="171990"/>
                    <a:pt x="53368" y="162666"/>
                    <a:pt x="49185" y="150948"/>
                  </a:cubicBezTo>
                  <a:cubicBezTo>
                    <a:pt x="44875" y="139356"/>
                    <a:pt x="42847" y="126504"/>
                    <a:pt x="42847" y="112518"/>
                  </a:cubicBezTo>
                  <a:cubicBezTo>
                    <a:pt x="42847" y="98658"/>
                    <a:pt x="45002" y="85806"/>
                    <a:pt x="49185" y="74214"/>
                  </a:cubicBezTo>
                  <a:cubicBezTo>
                    <a:pt x="53368" y="62496"/>
                    <a:pt x="59961" y="53172"/>
                    <a:pt x="68707" y="46116"/>
                  </a:cubicBezTo>
                  <a:cubicBezTo>
                    <a:pt x="77454" y="39060"/>
                    <a:pt x="88609" y="35532"/>
                    <a:pt x="102047" y="35532"/>
                  </a:cubicBezTo>
                  <a:cubicBezTo>
                    <a:pt x="115357" y="35532"/>
                    <a:pt x="126386" y="39060"/>
                    <a:pt x="135133" y="46116"/>
                  </a:cubicBezTo>
                  <a:cubicBezTo>
                    <a:pt x="143880" y="53172"/>
                    <a:pt x="150345" y="62622"/>
                    <a:pt x="154655" y="74214"/>
                  </a:cubicBezTo>
                  <a:cubicBezTo>
                    <a:pt x="158838" y="85932"/>
                    <a:pt x="160993" y="98658"/>
                    <a:pt x="160993" y="112518"/>
                  </a:cubicBezTo>
                  <a:cubicBezTo>
                    <a:pt x="160993" y="126504"/>
                    <a:pt x="158838" y="139356"/>
                    <a:pt x="154655" y="150948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2" name="Freihandform 38">
              <a:extLst>
                <a:ext uri="{FF2B5EF4-FFF2-40B4-BE49-F238E27FC236}">
                  <a16:creationId xmlns:a16="http://schemas.microsoft.com/office/drawing/2014/main" id="{A557F429-6F93-4F3C-B06C-6AA11804ED92}"/>
                </a:ext>
              </a:extLst>
            </p:cNvPr>
            <p:cNvSpPr/>
            <p:nvPr/>
          </p:nvSpPr>
          <p:spPr bwMode="invGray">
            <a:xfrm>
              <a:off x="1253635" y="465549"/>
              <a:ext cx="25638" cy="48295"/>
            </a:xfrm>
            <a:custGeom>
              <a:avLst/>
              <a:gdLst>
                <a:gd name="connsiteX0" fmla="*/ 99131 w 117258"/>
                <a:gd name="connsiteY0" fmla="*/ 0 h 220877"/>
                <a:gd name="connsiteX1" fmla="*/ 64651 w 117258"/>
                <a:gd name="connsiteY1" fmla="*/ 10080 h 220877"/>
                <a:gd name="connsiteX2" fmla="*/ 43481 w 117258"/>
                <a:gd name="connsiteY2" fmla="*/ 37800 h 220877"/>
                <a:gd name="connsiteX3" fmla="*/ 41199 w 117258"/>
                <a:gd name="connsiteY3" fmla="*/ 37800 h 220877"/>
                <a:gd name="connsiteX4" fmla="*/ 41199 w 117258"/>
                <a:gd name="connsiteY4" fmla="*/ 3150 h 220877"/>
                <a:gd name="connsiteX5" fmla="*/ 0 w 117258"/>
                <a:gd name="connsiteY5" fmla="*/ 3150 h 220877"/>
                <a:gd name="connsiteX6" fmla="*/ 0 w 117258"/>
                <a:gd name="connsiteY6" fmla="*/ 220878 h 220877"/>
                <a:gd name="connsiteX7" fmla="*/ 42720 w 117258"/>
                <a:gd name="connsiteY7" fmla="*/ 220878 h 220877"/>
                <a:gd name="connsiteX8" fmla="*/ 42720 w 117258"/>
                <a:gd name="connsiteY8" fmla="*/ 88074 h 220877"/>
                <a:gd name="connsiteX9" fmla="*/ 49566 w 117258"/>
                <a:gd name="connsiteY9" fmla="*/ 62748 h 220877"/>
                <a:gd name="connsiteX10" fmla="*/ 68200 w 117258"/>
                <a:gd name="connsiteY10" fmla="*/ 45360 h 220877"/>
                <a:gd name="connsiteX11" fmla="*/ 95075 w 117258"/>
                <a:gd name="connsiteY11" fmla="*/ 39060 h 220877"/>
                <a:gd name="connsiteX12" fmla="*/ 108132 w 117258"/>
                <a:gd name="connsiteY12" fmla="*/ 39942 h 220877"/>
                <a:gd name="connsiteX13" fmla="*/ 117259 w 117258"/>
                <a:gd name="connsiteY13" fmla="*/ 41580 h 220877"/>
                <a:gd name="connsiteX14" fmla="*/ 117259 w 117258"/>
                <a:gd name="connsiteY14" fmla="*/ 1008 h 220877"/>
                <a:gd name="connsiteX15" fmla="*/ 108639 w 117258"/>
                <a:gd name="connsiteY15" fmla="*/ 252 h 220877"/>
                <a:gd name="connsiteX16" fmla="*/ 99131 w 117258"/>
                <a:gd name="connsiteY16" fmla="*/ 0 h 220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7258" h="220877">
                  <a:moveTo>
                    <a:pt x="99131" y="0"/>
                  </a:moveTo>
                  <a:cubicBezTo>
                    <a:pt x="86328" y="0"/>
                    <a:pt x="74792" y="3402"/>
                    <a:pt x="64651" y="10080"/>
                  </a:cubicBezTo>
                  <a:cubicBezTo>
                    <a:pt x="54509" y="16884"/>
                    <a:pt x="47410" y="26082"/>
                    <a:pt x="43481" y="37800"/>
                  </a:cubicBezTo>
                  <a:lnTo>
                    <a:pt x="41199" y="37800"/>
                  </a:lnTo>
                  <a:lnTo>
                    <a:pt x="41199" y="3150"/>
                  </a:lnTo>
                  <a:lnTo>
                    <a:pt x="0" y="3150"/>
                  </a:lnTo>
                  <a:lnTo>
                    <a:pt x="0" y="220878"/>
                  </a:lnTo>
                  <a:lnTo>
                    <a:pt x="42720" y="220878"/>
                  </a:lnTo>
                  <a:lnTo>
                    <a:pt x="42720" y="88074"/>
                  </a:lnTo>
                  <a:cubicBezTo>
                    <a:pt x="42720" y="78624"/>
                    <a:pt x="45002" y="70182"/>
                    <a:pt x="49566" y="62748"/>
                  </a:cubicBezTo>
                  <a:cubicBezTo>
                    <a:pt x="54129" y="55314"/>
                    <a:pt x="60341" y="49518"/>
                    <a:pt x="68200" y="45360"/>
                  </a:cubicBezTo>
                  <a:cubicBezTo>
                    <a:pt x="76060" y="41202"/>
                    <a:pt x="85060" y="39060"/>
                    <a:pt x="95075" y="39060"/>
                  </a:cubicBezTo>
                  <a:cubicBezTo>
                    <a:pt x="99385" y="39060"/>
                    <a:pt x="103822" y="39438"/>
                    <a:pt x="108132" y="39942"/>
                  </a:cubicBezTo>
                  <a:cubicBezTo>
                    <a:pt x="112568" y="40572"/>
                    <a:pt x="115611" y="41076"/>
                    <a:pt x="117259" y="41580"/>
                  </a:cubicBezTo>
                  <a:lnTo>
                    <a:pt x="117259" y="1008"/>
                  </a:lnTo>
                  <a:cubicBezTo>
                    <a:pt x="115104" y="756"/>
                    <a:pt x="112315" y="504"/>
                    <a:pt x="108639" y="252"/>
                  </a:cubicBezTo>
                  <a:cubicBezTo>
                    <a:pt x="104962" y="126"/>
                    <a:pt x="101793" y="0"/>
                    <a:pt x="99131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3" name="Freihandform 39">
              <a:extLst>
                <a:ext uri="{FF2B5EF4-FFF2-40B4-BE49-F238E27FC236}">
                  <a16:creationId xmlns:a16="http://schemas.microsoft.com/office/drawing/2014/main" id="{7DC88ECB-9263-4363-9D71-4514FF702696}"/>
                </a:ext>
              </a:extLst>
            </p:cNvPr>
            <p:cNvSpPr/>
            <p:nvPr/>
          </p:nvSpPr>
          <p:spPr bwMode="invGray">
            <a:xfrm>
              <a:off x="1287450" y="450397"/>
              <a:ext cx="9341" cy="63475"/>
            </a:xfrm>
            <a:custGeom>
              <a:avLst/>
              <a:gdLst>
                <a:gd name="connsiteX0" fmla="*/ 0 w 42720"/>
                <a:gd name="connsiteY0" fmla="*/ 0 h 290304"/>
                <a:gd name="connsiteX1" fmla="*/ 42720 w 42720"/>
                <a:gd name="connsiteY1" fmla="*/ 0 h 290304"/>
                <a:gd name="connsiteX2" fmla="*/ 42720 w 42720"/>
                <a:gd name="connsiteY2" fmla="*/ 290304 h 290304"/>
                <a:gd name="connsiteX3" fmla="*/ 0 w 42720"/>
                <a:gd name="connsiteY3" fmla="*/ 290304 h 29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720" h="290304">
                  <a:moveTo>
                    <a:pt x="0" y="0"/>
                  </a:moveTo>
                  <a:lnTo>
                    <a:pt x="42720" y="0"/>
                  </a:lnTo>
                  <a:lnTo>
                    <a:pt x="42720" y="290304"/>
                  </a:lnTo>
                  <a:lnTo>
                    <a:pt x="0" y="290304"/>
                  </a:ln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4" name="Freihandform 40">
              <a:extLst>
                <a:ext uri="{FF2B5EF4-FFF2-40B4-BE49-F238E27FC236}">
                  <a16:creationId xmlns:a16="http://schemas.microsoft.com/office/drawing/2014/main" id="{BE070819-7F8D-4874-8710-2FC1516B1249}"/>
                </a:ext>
              </a:extLst>
            </p:cNvPr>
            <p:cNvSpPr/>
            <p:nvPr/>
          </p:nvSpPr>
          <p:spPr bwMode="invGray">
            <a:xfrm>
              <a:off x="1307323" y="450397"/>
              <a:ext cx="43793" cy="64411"/>
            </a:xfrm>
            <a:custGeom>
              <a:avLst/>
              <a:gdLst>
                <a:gd name="connsiteX0" fmla="*/ 157444 w 200290"/>
                <a:gd name="connsiteY0" fmla="*/ 107856 h 294587"/>
                <a:gd name="connsiteX1" fmla="*/ 154908 w 200290"/>
                <a:gd name="connsiteY1" fmla="*/ 107856 h 294587"/>
                <a:gd name="connsiteX2" fmla="*/ 144133 w 200290"/>
                <a:gd name="connsiteY2" fmla="*/ 92106 h 294587"/>
                <a:gd name="connsiteX3" fmla="*/ 124738 w 200290"/>
                <a:gd name="connsiteY3" fmla="*/ 76482 h 294587"/>
                <a:gd name="connsiteX4" fmla="*/ 91905 w 200290"/>
                <a:gd name="connsiteY4" fmla="*/ 69804 h 294587"/>
                <a:gd name="connsiteX5" fmla="*/ 44622 w 200290"/>
                <a:gd name="connsiteY5" fmla="*/ 83160 h 294587"/>
                <a:gd name="connsiteX6" fmla="*/ 11916 w 200290"/>
                <a:gd name="connsiteY6" fmla="*/ 121590 h 294587"/>
                <a:gd name="connsiteX7" fmla="*/ 0 w 200290"/>
                <a:gd name="connsiteY7" fmla="*/ 181944 h 294587"/>
                <a:gd name="connsiteX8" fmla="*/ 11789 w 200290"/>
                <a:gd name="connsiteY8" fmla="*/ 242424 h 294587"/>
                <a:gd name="connsiteX9" fmla="*/ 44368 w 200290"/>
                <a:gd name="connsiteY9" fmla="*/ 281106 h 294587"/>
                <a:gd name="connsiteX10" fmla="*/ 91652 w 200290"/>
                <a:gd name="connsiteY10" fmla="*/ 294588 h 294587"/>
                <a:gd name="connsiteX11" fmla="*/ 124231 w 200290"/>
                <a:gd name="connsiteY11" fmla="*/ 287910 h 294587"/>
                <a:gd name="connsiteX12" fmla="*/ 144006 w 200290"/>
                <a:gd name="connsiteY12" fmla="*/ 272286 h 294587"/>
                <a:gd name="connsiteX13" fmla="*/ 155035 w 200290"/>
                <a:gd name="connsiteY13" fmla="*/ 256410 h 294587"/>
                <a:gd name="connsiteX14" fmla="*/ 158585 w 200290"/>
                <a:gd name="connsiteY14" fmla="*/ 256410 h 294587"/>
                <a:gd name="connsiteX15" fmla="*/ 158585 w 200290"/>
                <a:gd name="connsiteY15" fmla="*/ 290304 h 294587"/>
                <a:gd name="connsiteX16" fmla="*/ 200290 w 200290"/>
                <a:gd name="connsiteY16" fmla="*/ 290304 h 294587"/>
                <a:gd name="connsiteX17" fmla="*/ 200290 w 200290"/>
                <a:gd name="connsiteY17" fmla="*/ 0 h 294587"/>
                <a:gd name="connsiteX18" fmla="*/ 157570 w 200290"/>
                <a:gd name="connsiteY18" fmla="*/ 0 h 294587"/>
                <a:gd name="connsiteX19" fmla="*/ 157570 w 200290"/>
                <a:gd name="connsiteY19" fmla="*/ 107856 h 294587"/>
                <a:gd name="connsiteX20" fmla="*/ 151612 w 200290"/>
                <a:gd name="connsiteY20" fmla="*/ 221760 h 294587"/>
                <a:gd name="connsiteX21" fmla="*/ 132217 w 200290"/>
                <a:gd name="connsiteY21" fmla="*/ 248724 h 294587"/>
                <a:gd name="connsiteX22" fmla="*/ 101033 w 200290"/>
                <a:gd name="connsiteY22" fmla="*/ 258426 h 294587"/>
                <a:gd name="connsiteX23" fmla="*/ 69214 w 200290"/>
                <a:gd name="connsiteY23" fmla="*/ 248346 h 294587"/>
                <a:gd name="connsiteX24" fmla="*/ 49819 w 200290"/>
                <a:gd name="connsiteY24" fmla="*/ 220752 h 294587"/>
                <a:gd name="connsiteX25" fmla="*/ 43227 w 200290"/>
                <a:gd name="connsiteY25" fmla="*/ 181440 h 294587"/>
                <a:gd name="connsiteX26" fmla="*/ 49693 w 200290"/>
                <a:gd name="connsiteY26" fmla="*/ 142758 h 294587"/>
                <a:gd name="connsiteX27" fmla="*/ 68961 w 200290"/>
                <a:gd name="connsiteY27" fmla="*/ 115668 h 294587"/>
                <a:gd name="connsiteX28" fmla="*/ 101033 w 200290"/>
                <a:gd name="connsiteY28" fmla="*/ 105714 h 294587"/>
                <a:gd name="connsiteX29" fmla="*/ 132471 w 200290"/>
                <a:gd name="connsiteY29" fmla="*/ 115164 h 294587"/>
                <a:gd name="connsiteX30" fmla="*/ 151739 w 200290"/>
                <a:gd name="connsiteY30" fmla="*/ 141624 h 294587"/>
                <a:gd name="connsiteX31" fmla="*/ 158331 w 200290"/>
                <a:gd name="connsiteY31" fmla="*/ 181314 h 294587"/>
                <a:gd name="connsiteX32" fmla="*/ 151612 w 200290"/>
                <a:gd name="connsiteY32" fmla="*/ 221760 h 294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00290" h="294587">
                  <a:moveTo>
                    <a:pt x="157444" y="107856"/>
                  </a:moveTo>
                  <a:lnTo>
                    <a:pt x="154908" y="107856"/>
                  </a:lnTo>
                  <a:cubicBezTo>
                    <a:pt x="152373" y="103320"/>
                    <a:pt x="148697" y="98028"/>
                    <a:pt x="144133" y="92106"/>
                  </a:cubicBezTo>
                  <a:cubicBezTo>
                    <a:pt x="139443" y="86184"/>
                    <a:pt x="132978" y="80892"/>
                    <a:pt x="124738" y="76482"/>
                  </a:cubicBezTo>
                  <a:cubicBezTo>
                    <a:pt x="116371" y="71946"/>
                    <a:pt x="105470" y="69804"/>
                    <a:pt x="91905" y="69804"/>
                  </a:cubicBezTo>
                  <a:cubicBezTo>
                    <a:pt x="74285" y="69804"/>
                    <a:pt x="58566" y="74214"/>
                    <a:pt x="44622" y="83160"/>
                  </a:cubicBezTo>
                  <a:cubicBezTo>
                    <a:pt x="30678" y="92106"/>
                    <a:pt x="19775" y="104832"/>
                    <a:pt x="11916" y="121590"/>
                  </a:cubicBezTo>
                  <a:cubicBezTo>
                    <a:pt x="3930" y="138348"/>
                    <a:pt x="0" y="158508"/>
                    <a:pt x="0" y="181944"/>
                  </a:cubicBezTo>
                  <a:cubicBezTo>
                    <a:pt x="0" y="205506"/>
                    <a:pt x="3930" y="225666"/>
                    <a:pt x="11789" y="242424"/>
                  </a:cubicBezTo>
                  <a:cubicBezTo>
                    <a:pt x="19649" y="259182"/>
                    <a:pt x="30424" y="272034"/>
                    <a:pt x="44368" y="281106"/>
                  </a:cubicBezTo>
                  <a:cubicBezTo>
                    <a:pt x="58186" y="290178"/>
                    <a:pt x="73905" y="294588"/>
                    <a:pt x="91652" y="294588"/>
                  </a:cubicBezTo>
                  <a:cubicBezTo>
                    <a:pt x="104962" y="294588"/>
                    <a:pt x="115738" y="292320"/>
                    <a:pt x="124231" y="287910"/>
                  </a:cubicBezTo>
                  <a:cubicBezTo>
                    <a:pt x="132597" y="283500"/>
                    <a:pt x="139189" y="278208"/>
                    <a:pt x="144006" y="272286"/>
                  </a:cubicBezTo>
                  <a:cubicBezTo>
                    <a:pt x="148823" y="266364"/>
                    <a:pt x="152500" y="261072"/>
                    <a:pt x="155035" y="256410"/>
                  </a:cubicBezTo>
                  <a:lnTo>
                    <a:pt x="158585" y="256410"/>
                  </a:lnTo>
                  <a:lnTo>
                    <a:pt x="158585" y="290304"/>
                  </a:lnTo>
                  <a:lnTo>
                    <a:pt x="200290" y="290304"/>
                  </a:lnTo>
                  <a:lnTo>
                    <a:pt x="200290" y="0"/>
                  </a:lnTo>
                  <a:lnTo>
                    <a:pt x="157570" y="0"/>
                  </a:lnTo>
                  <a:lnTo>
                    <a:pt x="157570" y="107856"/>
                  </a:lnTo>
                  <a:close/>
                  <a:moveTo>
                    <a:pt x="151612" y="221760"/>
                  </a:moveTo>
                  <a:cubicBezTo>
                    <a:pt x="147175" y="233226"/>
                    <a:pt x="140711" y="242298"/>
                    <a:pt x="132217" y="248724"/>
                  </a:cubicBezTo>
                  <a:cubicBezTo>
                    <a:pt x="123724" y="255150"/>
                    <a:pt x="113329" y="258426"/>
                    <a:pt x="101033" y="258426"/>
                  </a:cubicBezTo>
                  <a:cubicBezTo>
                    <a:pt x="88356" y="258426"/>
                    <a:pt x="77708" y="255024"/>
                    <a:pt x="69214" y="248346"/>
                  </a:cubicBezTo>
                  <a:cubicBezTo>
                    <a:pt x="60594" y="241542"/>
                    <a:pt x="54129" y="232344"/>
                    <a:pt x="49819" y="220752"/>
                  </a:cubicBezTo>
                  <a:cubicBezTo>
                    <a:pt x="45382" y="209160"/>
                    <a:pt x="43227" y="196056"/>
                    <a:pt x="43227" y="181440"/>
                  </a:cubicBezTo>
                  <a:cubicBezTo>
                    <a:pt x="43227" y="167076"/>
                    <a:pt x="45382" y="154224"/>
                    <a:pt x="49693" y="142758"/>
                  </a:cubicBezTo>
                  <a:cubicBezTo>
                    <a:pt x="54003" y="131292"/>
                    <a:pt x="60467" y="122346"/>
                    <a:pt x="68961" y="115668"/>
                  </a:cubicBezTo>
                  <a:cubicBezTo>
                    <a:pt x="77454" y="108990"/>
                    <a:pt x="88229" y="105714"/>
                    <a:pt x="101033" y="105714"/>
                  </a:cubicBezTo>
                  <a:cubicBezTo>
                    <a:pt x="113456" y="105714"/>
                    <a:pt x="123977" y="108864"/>
                    <a:pt x="132471" y="115164"/>
                  </a:cubicBezTo>
                  <a:cubicBezTo>
                    <a:pt x="140964" y="121464"/>
                    <a:pt x="147302" y="130284"/>
                    <a:pt x="151739" y="141624"/>
                  </a:cubicBezTo>
                  <a:cubicBezTo>
                    <a:pt x="156049" y="152964"/>
                    <a:pt x="158331" y="166194"/>
                    <a:pt x="158331" y="181314"/>
                  </a:cubicBezTo>
                  <a:cubicBezTo>
                    <a:pt x="158204" y="196812"/>
                    <a:pt x="156049" y="210168"/>
                    <a:pt x="151612" y="22176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85" name="Freihandform 41">
              <a:extLst>
                <a:ext uri="{FF2B5EF4-FFF2-40B4-BE49-F238E27FC236}">
                  <a16:creationId xmlns:a16="http://schemas.microsoft.com/office/drawing/2014/main" id="{874300A1-6EF5-45E8-A8F2-13B9427E8203}"/>
                </a:ext>
              </a:extLst>
            </p:cNvPr>
            <p:cNvSpPr/>
            <p:nvPr/>
          </p:nvSpPr>
          <p:spPr bwMode="invGray">
            <a:xfrm>
              <a:off x="1364393" y="502108"/>
              <a:ext cx="12473" cy="12370"/>
            </a:xfrm>
            <a:custGeom>
              <a:avLst/>
              <a:gdLst>
                <a:gd name="connsiteX0" fmla="*/ 28395 w 57044"/>
                <a:gd name="connsiteY0" fmla="*/ 0 h 56573"/>
                <a:gd name="connsiteX1" fmla="*/ 8367 w 57044"/>
                <a:gd name="connsiteY1" fmla="*/ 8316 h 56573"/>
                <a:gd name="connsiteX2" fmla="*/ 0 w 57044"/>
                <a:gd name="connsiteY2" fmla="*/ 28224 h 56573"/>
                <a:gd name="connsiteX3" fmla="*/ 8367 w 57044"/>
                <a:gd name="connsiteY3" fmla="*/ 48258 h 56573"/>
                <a:gd name="connsiteX4" fmla="*/ 28395 w 57044"/>
                <a:gd name="connsiteY4" fmla="*/ 56574 h 56573"/>
                <a:gd name="connsiteX5" fmla="*/ 42720 w 57044"/>
                <a:gd name="connsiteY5" fmla="*/ 52794 h 56573"/>
                <a:gd name="connsiteX6" fmla="*/ 53115 w 57044"/>
                <a:gd name="connsiteY6" fmla="*/ 42462 h 56573"/>
                <a:gd name="connsiteX7" fmla="*/ 57045 w 57044"/>
                <a:gd name="connsiteY7" fmla="*/ 28224 h 56573"/>
                <a:gd name="connsiteX8" fmla="*/ 48678 w 57044"/>
                <a:gd name="connsiteY8" fmla="*/ 8316 h 56573"/>
                <a:gd name="connsiteX9" fmla="*/ 28395 w 57044"/>
                <a:gd name="connsiteY9" fmla="*/ 0 h 56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044" h="56573">
                  <a:moveTo>
                    <a:pt x="28395" y="0"/>
                  </a:moveTo>
                  <a:cubicBezTo>
                    <a:pt x="20663" y="0"/>
                    <a:pt x="13944" y="2772"/>
                    <a:pt x="8367" y="8316"/>
                  </a:cubicBezTo>
                  <a:cubicBezTo>
                    <a:pt x="2789" y="13860"/>
                    <a:pt x="0" y="20538"/>
                    <a:pt x="0" y="28224"/>
                  </a:cubicBezTo>
                  <a:cubicBezTo>
                    <a:pt x="0" y="36036"/>
                    <a:pt x="2789" y="42714"/>
                    <a:pt x="8367" y="48258"/>
                  </a:cubicBezTo>
                  <a:cubicBezTo>
                    <a:pt x="13944" y="53802"/>
                    <a:pt x="20663" y="56574"/>
                    <a:pt x="28395" y="56574"/>
                  </a:cubicBezTo>
                  <a:cubicBezTo>
                    <a:pt x="33593" y="56574"/>
                    <a:pt x="38410" y="55314"/>
                    <a:pt x="42720" y="52794"/>
                  </a:cubicBezTo>
                  <a:cubicBezTo>
                    <a:pt x="47030" y="50274"/>
                    <a:pt x="50453" y="46872"/>
                    <a:pt x="53115" y="42462"/>
                  </a:cubicBezTo>
                  <a:cubicBezTo>
                    <a:pt x="55777" y="38178"/>
                    <a:pt x="57045" y="33390"/>
                    <a:pt x="57045" y="28224"/>
                  </a:cubicBezTo>
                  <a:cubicBezTo>
                    <a:pt x="57045" y="20412"/>
                    <a:pt x="54256" y="13860"/>
                    <a:pt x="48678" y="8316"/>
                  </a:cubicBezTo>
                  <a:cubicBezTo>
                    <a:pt x="42847" y="2772"/>
                    <a:pt x="36128" y="0"/>
                    <a:pt x="28395" y="0"/>
                  </a:cubicBezTo>
                  <a:close/>
                </a:path>
              </a:pathLst>
            </a:custGeom>
            <a:grpFill/>
            <a:ln w="1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accent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Titl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, </a:t>
            </a:r>
            <a:br>
              <a:rPr lang="en-US"/>
            </a:br>
            <a:r>
              <a:rPr lang="en-US"/>
              <a:t>Place, Date Inter 12pt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18F3B326-7E40-4C04-9D7A-2BDF39C7402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111875" cy="6858000"/>
          </a:xfrm>
          <a:solidFill>
            <a:schemeClr val="accent4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29730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9BF7E1-7479-4B02-8452-601829203B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0834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A9BF7E1-7479-4B02-8452-601829203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Bildplatzhalter 42">
            <a:extLst>
              <a:ext uri="{FF2B5EF4-FFF2-40B4-BE49-F238E27FC236}">
                <a16:creationId xmlns:a16="http://schemas.microsoft.com/office/drawing/2014/main" id="{0EF3031C-4C4A-429D-A5A5-4A3422917A2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207875" cy="6858000"/>
          </a:xfrm>
          <a:custGeom>
            <a:avLst/>
            <a:gdLst>
              <a:gd name="connsiteX0" fmla="*/ 1370601 w 12207875"/>
              <a:gd name="connsiteY0" fmla="*/ 502108 h 6858000"/>
              <a:gd name="connsiteX1" fmla="*/ 1366222 w 12207875"/>
              <a:gd name="connsiteY1" fmla="*/ 503926 h 6858000"/>
              <a:gd name="connsiteX2" fmla="*/ 1364392 w 12207875"/>
              <a:gd name="connsiteY2" fmla="*/ 508279 h 6858000"/>
              <a:gd name="connsiteX3" fmla="*/ 1366222 w 12207875"/>
              <a:gd name="connsiteY3" fmla="*/ 512660 h 6858000"/>
              <a:gd name="connsiteX4" fmla="*/ 1370601 w 12207875"/>
              <a:gd name="connsiteY4" fmla="*/ 514478 h 6858000"/>
              <a:gd name="connsiteX5" fmla="*/ 1373733 w 12207875"/>
              <a:gd name="connsiteY5" fmla="*/ 513652 h 6858000"/>
              <a:gd name="connsiteX6" fmla="*/ 1376006 w 12207875"/>
              <a:gd name="connsiteY6" fmla="*/ 511393 h 6858000"/>
              <a:gd name="connsiteX7" fmla="*/ 1376865 w 12207875"/>
              <a:gd name="connsiteY7" fmla="*/ 508279 h 6858000"/>
              <a:gd name="connsiteX8" fmla="*/ 1375036 w 12207875"/>
              <a:gd name="connsiteY8" fmla="*/ 503926 h 6858000"/>
              <a:gd name="connsiteX9" fmla="*/ 1370601 w 12207875"/>
              <a:gd name="connsiteY9" fmla="*/ 502108 h 6858000"/>
              <a:gd name="connsiteX10" fmla="*/ 1329413 w 12207875"/>
              <a:gd name="connsiteY10" fmla="*/ 473511 h 6858000"/>
              <a:gd name="connsiteX11" fmla="*/ 1336287 w 12207875"/>
              <a:gd name="connsiteY11" fmla="*/ 475577 h 6858000"/>
              <a:gd name="connsiteX12" fmla="*/ 1340499 w 12207875"/>
              <a:gd name="connsiteY12" fmla="*/ 481363 h 6858000"/>
              <a:gd name="connsiteX13" fmla="*/ 1341941 w 12207875"/>
              <a:gd name="connsiteY13" fmla="*/ 490041 h 6858000"/>
              <a:gd name="connsiteX14" fmla="*/ 1340472 w 12207875"/>
              <a:gd name="connsiteY14" fmla="*/ 498885 h 6858000"/>
              <a:gd name="connsiteX15" fmla="*/ 1336231 w 12207875"/>
              <a:gd name="connsiteY15" fmla="*/ 504780 h 6858000"/>
              <a:gd name="connsiteX16" fmla="*/ 1329413 w 12207875"/>
              <a:gd name="connsiteY16" fmla="*/ 506901 h 6858000"/>
              <a:gd name="connsiteX17" fmla="*/ 1322456 w 12207875"/>
              <a:gd name="connsiteY17" fmla="*/ 504697 h 6858000"/>
              <a:gd name="connsiteX18" fmla="*/ 1318215 w 12207875"/>
              <a:gd name="connsiteY18" fmla="*/ 498664 h 6858000"/>
              <a:gd name="connsiteX19" fmla="*/ 1316774 w 12207875"/>
              <a:gd name="connsiteY19" fmla="*/ 490069 h 6858000"/>
              <a:gd name="connsiteX20" fmla="*/ 1318187 w 12207875"/>
              <a:gd name="connsiteY20" fmla="*/ 481611 h 6858000"/>
              <a:gd name="connsiteX21" fmla="*/ 1322400 w 12207875"/>
              <a:gd name="connsiteY21" fmla="*/ 475688 h 6858000"/>
              <a:gd name="connsiteX22" fmla="*/ 1329413 w 12207875"/>
              <a:gd name="connsiteY22" fmla="*/ 473511 h 6858000"/>
              <a:gd name="connsiteX23" fmla="*/ 1220844 w 12207875"/>
              <a:gd name="connsiteY23" fmla="*/ 473428 h 6858000"/>
              <a:gd name="connsiteX24" fmla="*/ 1228078 w 12207875"/>
              <a:gd name="connsiteY24" fmla="*/ 475742 h 6858000"/>
              <a:gd name="connsiteX25" fmla="*/ 1232346 w 12207875"/>
              <a:gd name="connsiteY25" fmla="*/ 481886 h 6858000"/>
              <a:gd name="connsiteX26" fmla="*/ 1233732 w 12207875"/>
              <a:gd name="connsiteY26" fmla="*/ 490261 h 6858000"/>
              <a:gd name="connsiteX27" fmla="*/ 1232346 w 12207875"/>
              <a:gd name="connsiteY27" fmla="*/ 498664 h 6858000"/>
              <a:gd name="connsiteX28" fmla="*/ 1228078 w 12207875"/>
              <a:gd name="connsiteY28" fmla="*/ 504780 h 6858000"/>
              <a:gd name="connsiteX29" fmla="*/ 1220844 w 12207875"/>
              <a:gd name="connsiteY29" fmla="*/ 507067 h 6858000"/>
              <a:gd name="connsiteX30" fmla="*/ 1213554 w 12207875"/>
              <a:gd name="connsiteY30" fmla="*/ 504780 h 6858000"/>
              <a:gd name="connsiteX31" fmla="*/ 1209285 w 12207875"/>
              <a:gd name="connsiteY31" fmla="*/ 498664 h 6858000"/>
              <a:gd name="connsiteX32" fmla="*/ 1207900 w 12207875"/>
              <a:gd name="connsiteY32" fmla="*/ 490261 h 6858000"/>
              <a:gd name="connsiteX33" fmla="*/ 1209285 w 12207875"/>
              <a:gd name="connsiteY33" fmla="*/ 481886 h 6858000"/>
              <a:gd name="connsiteX34" fmla="*/ 1213554 w 12207875"/>
              <a:gd name="connsiteY34" fmla="*/ 475742 h 6858000"/>
              <a:gd name="connsiteX35" fmla="*/ 1220844 w 12207875"/>
              <a:gd name="connsiteY35" fmla="*/ 473428 h 6858000"/>
              <a:gd name="connsiteX36" fmla="*/ 1125884 w 12207875"/>
              <a:gd name="connsiteY36" fmla="*/ 466265 h 6858000"/>
              <a:gd name="connsiteX37" fmla="*/ 1139964 w 12207875"/>
              <a:gd name="connsiteY37" fmla="*/ 513899 h 6858000"/>
              <a:gd name="connsiteX38" fmla="*/ 1149444 w 12207875"/>
              <a:gd name="connsiteY38" fmla="*/ 513899 h 6858000"/>
              <a:gd name="connsiteX39" fmla="*/ 1159172 w 12207875"/>
              <a:gd name="connsiteY39" fmla="*/ 479517 h 6858000"/>
              <a:gd name="connsiteX40" fmla="*/ 1159893 w 12207875"/>
              <a:gd name="connsiteY40" fmla="*/ 479517 h 6858000"/>
              <a:gd name="connsiteX41" fmla="*/ 1169622 w 12207875"/>
              <a:gd name="connsiteY41" fmla="*/ 513899 h 6858000"/>
              <a:gd name="connsiteX42" fmla="*/ 1179129 w 12207875"/>
              <a:gd name="connsiteY42" fmla="*/ 513899 h 6858000"/>
              <a:gd name="connsiteX43" fmla="*/ 1193209 w 12207875"/>
              <a:gd name="connsiteY43" fmla="*/ 466265 h 6858000"/>
              <a:gd name="connsiteX44" fmla="*/ 1183564 w 12207875"/>
              <a:gd name="connsiteY44" fmla="*/ 466265 h 6858000"/>
              <a:gd name="connsiteX45" fmla="*/ 1174251 w 12207875"/>
              <a:gd name="connsiteY45" fmla="*/ 501088 h 6858000"/>
              <a:gd name="connsiteX46" fmla="*/ 1173780 w 12207875"/>
              <a:gd name="connsiteY46" fmla="*/ 501088 h 6858000"/>
              <a:gd name="connsiteX47" fmla="*/ 1164411 w 12207875"/>
              <a:gd name="connsiteY47" fmla="*/ 466265 h 6858000"/>
              <a:gd name="connsiteX48" fmla="*/ 1154793 w 12207875"/>
              <a:gd name="connsiteY48" fmla="*/ 466265 h 6858000"/>
              <a:gd name="connsiteX49" fmla="*/ 1145369 w 12207875"/>
              <a:gd name="connsiteY49" fmla="*/ 501226 h 6858000"/>
              <a:gd name="connsiteX50" fmla="*/ 1144898 w 12207875"/>
              <a:gd name="connsiteY50" fmla="*/ 501226 h 6858000"/>
              <a:gd name="connsiteX51" fmla="*/ 1135502 w 12207875"/>
              <a:gd name="connsiteY51" fmla="*/ 466265 h 6858000"/>
              <a:gd name="connsiteX52" fmla="*/ 1220844 w 12207875"/>
              <a:gd name="connsiteY52" fmla="*/ 465659 h 6858000"/>
              <a:gd name="connsiteX53" fmla="*/ 1209091 w 12207875"/>
              <a:gd name="connsiteY53" fmla="*/ 468717 h 6858000"/>
              <a:gd name="connsiteX54" fmla="*/ 1201303 w 12207875"/>
              <a:gd name="connsiteY54" fmla="*/ 477340 h 6858000"/>
              <a:gd name="connsiteX55" fmla="*/ 1198531 w 12207875"/>
              <a:gd name="connsiteY55" fmla="*/ 490289 h 6858000"/>
              <a:gd name="connsiteX56" fmla="*/ 1201303 w 12207875"/>
              <a:gd name="connsiteY56" fmla="*/ 503182 h 6858000"/>
              <a:gd name="connsiteX57" fmla="*/ 1209091 w 12207875"/>
              <a:gd name="connsiteY57" fmla="*/ 511778 h 6858000"/>
              <a:gd name="connsiteX58" fmla="*/ 1220844 w 12207875"/>
              <a:gd name="connsiteY58" fmla="*/ 514836 h 6858000"/>
              <a:gd name="connsiteX59" fmla="*/ 1232596 w 12207875"/>
              <a:gd name="connsiteY59" fmla="*/ 511778 h 6858000"/>
              <a:gd name="connsiteX60" fmla="*/ 1240384 w 12207875"/>
              <a:gd name="connsiteY60" fmla="*/ 503182 h 6858000"/>
              <a:gd name="connsiteX61" fmla="*/ 1243156 w 12207875"/>
              <a:gd name="connsiteY61" fmla="*/ 490289 h 6858000"/>
              <a:gd name="connsiteX62" fmla="*/ 1240384 w 12207875"/>
              <a:gd name="connsiteY62" fmla="*/ 477340 h 6858000"/>
              <a:gd name="connsiteX63" fmla="*/ 1232596 w 12207875"/>
              <a:gd name="connsiteY63" fmla="*/ 468717 h 6858000"/>
              <a:gd name="connsiteX64" fmla="*/ 1220844 w 12207875"/>
              <a:gd name="connsiteY64" fmla="*/ 465659 h 6858000"/>
              <a:gd name="connsiteX65" fmla="*/ 1275309 w 12207875"/>
              <a:gd name="connsiteY65" fmla="*/ 465549 h 6858000"/>
              <a:gd name="connsiteX66" fmla="*/ 1267770 w 12207875"/>
              <a:gd name="connsiteY66" fmla="*/ 467753 h 6858000"/>
              <a:gd name="connsiteX67" fmla="*/ 1263141 w 12207875"/>
              <a:gd name="connsiteY67" fmla="*/ 473814 h 6858000"/>
              <a:gd name="connsiteX68" fmla="*/ 1262642 w 12207875"/>
              <a:gd name="connsiteY68" fmla="*/ 473814 h 6858000"/>
              <a:gd name="connsiteX69" fmla="*/ 1262642 w 12207875"/>
              <a:gd name="connsiteY69" fmla="*/ 466238 h 6858000"/>
              <a:gd name="connsiteX70" fmla="*/ 1253634 w 12207875"/>
              <a:gd name="connsiteY70" fmla="*/ 466238 h 6858000"/>
              <a:gd name="connsiteX71" fmla="*/ 1253634 w 12207875"/>
              <a:gd name="connsiteY71" fmla="*/ 513844 h 6858000"/>
              <a:gd name="connsiteX72" fmla="*/ 1262975 w 12207875"/>
              <a:gd name="connsiteY72" fmla="*/ 513844 h 6858000"/>
              <a:gd name="connsiteX73" fmla="*/ 1262975 w 12207875"/>
              <a:gd name="connsiteY73" fmla="*/ 484806 h 6858000"/>
              <a:gd name="connsiteX74" fmla="*/ 1264471 w 12207875"/>
              <a:gd name="connsiteY74" fmla="*/ 479269 h 6858000"/>
              <a:gd name="connsiteX75" fmla="*/ 1268546 w 12207875"/>
              <a:gd name="connsiteY75" fmla="*/ 475467 h 6858000"/>
              <a:gd name="connsiteX76" fmla="*/ 1274422 w 12207875"/>
              <a:gd name="connsiteY76" fmla="*/ 474090 h 6858000"/>
              <a:gd name="connsiteX77" fmla="*/ 1277277 w 12207875"/>
              <a:gd name="connsiteY77" fmla="*/ 474282 h 6858000"/>
              <a:gd name="connsiteX78" fmla="*/ 1279272 w 12207875"/>
              <a:gd name="connsiteY78" fmla="*/ 474641 h 6858000"/>
              <a:gd name="connsiteX79" fmla="*/ 1279272 w 12207875"/>
              <a:gd name="connsiteY79" fmla="*/ 465769 h 6858000"/>
              <a:gd name="connsiteX80" fmla="*/ 1277388 w 12207875"/>
              <a:gd name="connsiteY80" fmla="*/ 465604 h 6858000"/>
              <a:gd name="connsiteX81" fmla="*/ 1275309 w 12207875"/>
              <a:gd name="connsiteY81" fmla="*/ 465549 h 6858000"/>
              <a:gd name="connsiteX82" fmla="*/ 1341774 w 12207875"/>
              <a:gd name="connsiteY82" fmla="*/ 450397 h 6858000"/>
              <a:gd name="connsiteX83" fmla="*/ 1341774 w 12207875"/>
              <a:gd name="connsiteY83" fmla="*/ 473980 h 6858000"/>
              <a:gd name="connsiteX84" fmla="*/ 1341747 w 12207875"/>
              <a:gd name="connsiteY84" fmla="*/ 473980 h 6858000"/>
              <a:gd name="connsiteX85" fmla="*/ 1341192 w 12207875"/>
              <a:gd name="connsiteY85" fmla="*/ 473980 h 6858000"/>
              <a:gd name="connsiteX86" fmla="*/ 1338836 w 12207875"/>
              <a:gd name="connsiteY86" fmla="*/ 470536 h 6858000"/>
              <a:gd name="connsiteX87" fmla="*/ 1334596 w 12207875"/>
              <a:gd name="connsiteY87" fmla="*/ 467120 h 6858000"/>
              <a:gd name="connsiteX88" fmla="*/ 1327417 w 12207875"/>
              <a:gd name="connsiteY88" fmla="*/ 465660 h 6858000"/>
              <a:gd name="connsiteX89" fmla="*/ 1317079 w 12207875"/>
              <a:gd name="connsiteY89" fmla="*/ 468580 h 6858000"/>
              <a:gd name="connsiteX90" fmla="*/ 1309927 w 12207875"/>
              <a:gd name="connsiteY90" fmla="*/ 476982 h 6858000"/>
              <a:gd name="connsiteX91" fmla="*/ 1307322 w 12207875"/>
              <a:gd name="connsiteY91" fmla="*/ 490179 h 6858000"/>
              <a:gd name="connsiteX92" fmla="*/ 1309900 w 12207875"/>
              <a:gd name="connsiteY92" fmla="*/ 503403 h 6858000"/>
              <a:gd name="connsiteX93" fmla="*/ 1317023 w 12207875"/>
              <a:gd name="connsiteY93" fmla="*/ 511860 h 6858000"/>
              <a:gd name="connsiteX94" fmla="*/ 1327362 w 12207875"/>
              <a:gd name="connsiteY94" fmla="*/ 514808 h 6858000"/>
              <a:gd name="connsiteX95" fmla="*/ 1334485 w 12207875"/>
              <a:gd name="connsiteY95" fmla="*/ 513348 h 6858000"/>
              <a:gd name="connsiteX96" fmla="*/ 1338809 w 12207875"/>
              <a:gd name="connsiteY96" fmla="*/ 509932 h 6858000"/>
              <a:gd name="connsiteX97" fmla="*/ 1341220 w 12207875"/>
              <a:gd name="connsiteY97" fmla="*/ 506461 h 6858000"/>
              <a:gd name="connsiteX98" fmla="*/ 1341996 w 12207875"/>
              <a:gd name="connsiteY98" fmla="*/ 506461 h 6858000"/>
              <a:gd name="connsiteX99" fmla="*/ 1341996 w 12207875"/>
              <a:gd name="connsiteY99" fmla="*/ 513872 h 6858000"/>
              <a:gd name="connsiteX100" fmla="*/ 1351115 w 12207875"/>
              <a:gd name="connsiteY100" fmla="*/ 513872 h 6858000"/>
              <a:gd name="connsiteX101" fmla="*/ 1351115 w 12207875"/>
              <a:gd name="connsiteY101" fmla="*/ 450397 h 6858000"/>
              <a:gd name="connsiteX102" fmla="*/ 1287449 w 12207875"/>
              <a:gd name="connsiteY102" fmla="*/ 450397 h 6858000"/>
              <a:gd name="connsiteX103" fmla="*/ 1287449 w 12207875"/>
              <a:gd name="connsiteY103" fmla="*/ 513872 h 6858000"/>
              <a:gd name="connsiteX104" fmla="*/ 1296790 w 12207875"/>
              <a:gd name="connsiteY104" fmla="*/ 513872 h 6858000"/>
              <a:gd name="connsiteX105" fmla="*/ 1296790 w 12207875"/>
              <a:gd name="connsiteY105" fmla="*/ 450397 h 6858000"/>
              <a:gd name="connsiteX106" fmla="*/ 1297372 w 12207875"/>
              <a:gd name="connsiteY106" fmla="*/ 401633 h 6858000"/>
              <a:gd name="connsiteX107" fmla="*/ 1297372 w 12207875"/>
              <a:gd name="connsiteY107" fmla="*/ 407777 h 6858000"/>
              <a:gd name="connsiteX108" fmla="*/ 1297344 w 12207875"/>
              <a:gd name="connsiteY108" fmla="*/ 407777 h 6858000"/>
              <a:gd name="connsiteX109" fmla="*/ 1295903 w 12207875"/>
              <a:gd name="connsiteY109" fmla="*/ 413066 h 6858000"/>
              <a:gd name="connsiteX110" fmla="*/ 1291689 w 12207875"/>
              <a:gd name="connsiteY110" fmla="*/ 417061 h 6858000"/>
              <a:gd name="connsiteX111" fmla="*/ 1285065 w 12207875"/>
              <a:gd name="connsiteY111" fmla="*/ 418576 h 6858000"/>
              <a:gd name="connsiteX112" fmla="*/ 1278552 w 12207875"/>
              <a:gd name="connsiteY112" fmla="*/ 416813 h 6858000"/>
              <a:gd name="connsiteX113" fmla="*/ 1276002 w 12207875"/>
              <a:gd name="connsiteY113" fmla="*/ 411634 h 6858000"/>
              <a:gd name="connsiteX114" fmla="*/ 1277332 w 12207875"/>
              <a:gd name="connsiteY114" fmla="*/ 407639 h 6858000"/>
              <a:gd name="connsiteX115" fmla="*/ 1280880 w 12207875"/>
              <a:gd name="connsiteY115" fmla="*/ 405325 h 6858000"/>
              <a:gd name="connsiteX116" fmla="*/ 1285814 w 12207875"/>
              <a:gd name="connsiteY116" fmla="*/ 404168 h 6858000"/>
              <a:gd name="connsiteX117" fmla="*/ 1288696 w 12207875"/>
              <a:gd name="connsiteY117" fmla="*/ 403782 h 6858000"/>
              <a:gd name="connsiteX118" fmla="*/ 1292216 w 12207875"/>
              <a:gd name="connsiteY118" fmla="*/ 403259 h 6858000"/>
              <a:gd name="connsiteX119" fmla="*/ 1295459 w 12207875"/>
              <a:gd name="connsiteY119" fmla="*/ 402542 h 6858000"/>
              <a:gd name="connsiteX120" fmla="*/ 1297372 w 12207875"/>
              <a:gd name="connsiteY120" fmla="*/ 401633 h 6858000"/>
              <a:gd name="connsiteX121" fmla="*/ 1363312 w 12207875"/>
              <a:gd name="connsiteY121" fmla="*/ 384608 h 6858000"/>
              <a:gd name="connsiteX122" fmla="*/ 1370352 w 12207875"/>
              <a:gd name="connsiteY122" fmla="*/ 386785 h 6858000"/>
              <a:gd name="connsiteX123" fmla="*/ 1374593 w 12207875"/>
              <a:gd name="connsiteY123" fmla="*/ 392708 h 6858000"/>
              <a:gd name="connsiteX124" fmla="*/ 1376007 w 12207875"/>
              <a:gd name="connsiteY124" fmla="*/ 401166 h 6858000"/>
              <a:gd name="connsiteX125" fmla="*/ 1374565 w 12207875"/>
              <a:gd name="connsiteY125" fmla="*/ 409734 h 6858000"/>
              <a:gd name="connsiteX126" fmla="*/ 1370297 w 12207875"/>
              <a:gd name="connsiteY126" fmla="*/ 415767 h 6858000"/>
              <a:gd name="connsiteX127" fmla="*/ 1363312 w 12207875"/>
              <a:gd name="connsiteY127" fmla="*/ 417971 h 6858000"/>
              <a:gd name="connsiteX128" fmla="*/ 1356521 w 12207875"/>
              <a:gd name="connsiteY128" fmla="*/ 415850 h 6858000"/>
              <a:gd name="connsiteX129" fmla="*/ 1352280 w 12207875"/>
              <a:gd name="connsiteY129" fmla="*/ 409954 h 6858000"/>
              <a:gd name="connsiteX130" fmla="*/ 1350811 w 12207875"/>
              <a:gd name="connsiteY130" fmla="*/ 401138 h 6858000"/>
              <a:gd name="connsiteX131" fmla="*/ 1352253 w 12207875"/>
              <a:gd name="connsiteY131" fmla="*/ 392460 h 6858000"/>
              <a:gd name="connsiteX132" fmla="*/ 1356466 w 12207875"/>
              <a:gd name="connsiteY132" fmla="*/ 386674 h 6858000"/>
              <a:gd name="connsiteX133" fmla="*/ 1363312 w 12207875"/>
              <a:gd name="connsiteY133" fmla="*/ 384608 h 6858000"/>
              <a:gd name="connsiteX134" fmla="*/ 1181486 w 12207875"/>
              <a:gd name="connsiteY134" fmla="*/ 384497 h 6858000"/>
              <a:gd name="connsiteX135" fmla="*/ 1188720 w 12207875"/>
              <a:gd name="connsiteY135" fmla="*/ 386811 h 6858000"/>
              <a:gd name="connsiteX136" fmla="*/ 1192988 w 12207875"/>
              <a:gd name="connsiteY136" fmla="*/ 392955 h 6858000"/>
              <a:gd name="connsiteX137" fmla="*/ 1194374 w 12207875"/>
              <a:gd name="connsiteY137" fmla="*/ 401330 h 6858000"/>
              <a:gd name="connsiteX138" fmla="*/ 1192988 w 12207875"/>
              <a:gd name="connsiteY138" fmla="*/ 409733 h 6858000"/>
              <a:gd name="connsiteX139" fmla="*/ 1188720 w 12207875"/>
              <a:gd name="connsiteY139" fmla="*/ 415849 h 6858000"/>
              <a:gd name="connsiteX140" fmla="*/ 1181486 w 12207875"/>
              <a:gd name="connsiteY140" fmla="*/ 418135 h 6858000"/>
              <a:gd name="connsiteX141" fmla="*/ 1174196 w 12207875"/>
              <a:gd name="connsiteY141" fmla="*/ 415849 h 6858000"/>
              <a:gd name="connsiteX142" fmla="*/ 1169927 w 12207875"/>
              <a:gd name="connsiteY142" fmla="*/ 409733 h 6858000"/>
              <a:gd name="connsiteX143" fmla="*/ 1168542 w 12207875"/>
              <a:gd name="connsiteY143" fmla="*/ 401330 h 6858000"/>
              <a:gd name="connsiteX144" fmla="*/ 1169927 w 12207875"/>
              <a:gd name="connsiteY144" fmla="*/ 392955 h 6858000"/>
              <a:gd name="connsiteX145" fmla="*/ 1174196 w 12207875"/>
              <a:gd name="connsiteY145" fmla="*/ 386811 h 6858000"/>
              <a:gd name="connsiteX146" fmla="*/ 1181486 w 12207875"/>
              <a:gd name="connsiteY146" fmla="*/ 384497 h 6858000"/>
              <a:gd name="connsiteX147" fmla="*/ 1530004 w 12207875"/>
              <a:gd name="connsiteY147" fmla="*/ 384387 h 6858000"/>
              <a:gd name="connsiteX148" fmla="*/ 1536324 w 12207875"/>
              <a:gd name="connsiteY148" fmla="*/ 386040 h 6858000"/>
              <a:gd name="connsiteX149" fmla="*/ 1540509 w 12207875"/>
              <a:gd name="connsiteY149" fmla="*/ 390531 h 6858000"/>
              <a:gd name="connsiteX150" fmla="*/ 1542006 w 12207875"/>
              <a:gd name="connsiteY150" fmla="*/ 397032 h 6858000"/>
              <a:gd name="connsiteX151" fmla="*/ 1517198 w 12207875"/>
              <a:gd name="connsiteY151" fmla="*/ 397032 h 6858000"/>
              <a:gd name="connsiteX152" fmla="*/ 1517198 w 12207875"/>
              <a:gd name="connsiteY152" fmla="*/ 397005 h 6858000"/>
              <a:gd name="connsiteX153" fmla="*/ 1518667 w 12207875"/>
              <a:gd name="connsiteY153" fmla="*/ 391247 h 6858000"/>
              <a:gd name="connsiteX154" fmla="*/ 1523158 w 12207875"/>
              <a:gd name="connsiteY154" fmla="*/ 386288 h 6858000"/>
              <a:gd name="connsiteX155" fmla="*/ 1530004 w 12207875"/>
              <a:gd name="connsiteY155" fmla="*/ 384387 h 6858000"/>
              <a:gd name="connsiteX156" fmla="*/ 1415227 w 12207875"/>
              <a:gd name="connsiteY156" fmla="*/ 384387 h 6858000"/>
              <a:gd name="connsiteX157" fmla="*/ 1421547 w 12207875"/>
              <a:gd name="connsiteY157" fmla="*/ 386040 h 6858000"/>
              <a:gd name="connsiteX158" fmla="*/ 1425732 w 12207875"/>
              <a:gd name="connsiteY158" fmla="*/ 390531 h 6858000"/>
              <a:gd name="connsiteX159" fmla="*/ 1427229 w 12207875"/>
              <a:gd name="connsiteY159" fmla="*/ 397032 h 6858000"/>
              <a:gd name="connsiteX160" fmla="*/ 1402421 w 12207875"/>
              <a:gd name="connsiteY160" fmla="*/ 397032 h 6858000"/>
              <a:gd name="connsiteX161" fmla="*/ 1402421 w 12207875"/>
              <a:gd name="connsiteY161" fmla="*/ 397005 h 6858000"/>
              <a:gd name="connsiteX162" fmla="*/ 1403890 w 12207875"/>
              <a:gd name="connsiteY162" fmla="*/ 391247 h 6858000"/>
              <a:gd name="connsiteX163" fmla="*/ 1408381 w 12207875"/>
              <a:gd name="connsiteY163" fmla="*/ 386288 h 6858000"/>
              <a:gd name="connsiteX164" fmla="*/ 1415227 w 12207875"/>
              <a:gd name="connsiteY164" fmla="*/ 384387 h 6858000"/>
              <a:gd name="connsiteX165" fmla="*/ 1529948 w 12207875"/>
              <a:gd name="connsiteY165" fmla="*/ 376728 h 6858000"/>
              <a:gd name="connsiteX166" fmla="*/ 1518307 w 12207875"/>
              <a:gd name="connsiteY166" fmla="*/ 379869 h 6858000"/>
              <a:gd name="connsiteX167" fmla="*/ 1510574 w 12207875"/>
              <a:gd name="connsiteY167" fmla="*/ 388574 h 6858000"/>
              <a:gd name="connsiteX168" fmla="*/ 1507802 w 12207875"/>
              <a:gd name="connsiteY168" fmla="*/ 401468 h 6858000"/>
              <a:gd name="connsiteX169" fmla="*/ 1510574 w 12207875"/>
              <a:gd name="connsiteY169" fmla="*/ 414389 h 6858000"/>
              <a:gd name="connsiteX170" fmla="*/ 1518418 w 12207875"/>
              <a:gd name="connsiteY170" fmla="*/ 422902 h 6858000"/>
              <a:gd name="connsiteX171" fmla="*/ 1530614 w 12207875"/>
              <a:gd name="connsiteY171" fmla="*/ 425932 h 6858000"/>
              <a:gd name="connsiteX172" fmla="*/ 1539955 w 12207875"/>
              <a:gd name="connsiteY172" fmla="*/ 424334 h 6858000"/>
              <a:gd name="connsiteX173" fmla="*/ 1546773 w 12207875"/>
              <a:gd name="connsiteY173" fmla="*/ 419844 h 6858000"/>
              <a:gd name="connsiteX174" fmla="*/ 1550570 w 12207875"/>
              <a:gd name="connsiteY174" fmla="*/ 413066 h 6858000"/>
              <a:gd name="connsiteX175" fmla="*/ 1541756 w 12207875"/>
              <a:gd name="connsiteY175" fmla="*/ 411496 h 6858000"/>
              <a:gd name="connsiteX176" fmla="*/ 1539317 w 12207875"/>
              <a:gd name="connsiteY176" fmla="*/ 415243 h 6858000"/>
              <a:gd name="connsiteX177" fmla="*/ 1535547 w 12207875"/>
              <a:gd name="connsiteY177" fmla="*/ 417530 h 6858000"/>
              <a:gd name="connsiteX178" fmla="*/ 1530725 w 12207875"/>
              <a:gd name="connsiteY178" fmla="*/ 418301 h 6858000"/>
              <a:gd name="connsiteX179" fmla="*/ 1523573 w 12207875"/>
              <a:gd name="connsiteY179" fmla="*/ 416538 h 6858000"/>
              <a:gd name="connsiteX180" fmla="*/ 1518834 w 12207875"/>
              <a:gd name="connsiteY180" fmla="*/ 411441 h 6858000"/>
              <a:gd name="connsiteX181" fmla="*/ 1517198 w 12207875"/>
              <a:gd name="connsiteY181" fmla="*/ 403975 h 6858000"/>
              <a:gd name="connsiteX182" fmla="*/ 1551180 w 12207875"/>
              <a:gd name="connsiteY182" fmla="*/ 403975 h 6858000"/>
              <a:gd name="connsiteX183" fmla="*/ 1551180 w 12207875"/>
              <a:gd name="connsiteY183" fmla="*/ 400696 h 6858000"/>
              <a:gd name="connsiteX184" fmla="*/ 1549434 w 12207875"/>
              <a:gd name="connsiteY184" fmla="*/ 389676 h 6858000"/>
              <a:gd name="connsiteX185" fmla="*/ 1544639 w 12207875"/>
              <a:gd name="connsiteY185" fmla="*/ 382238 h 6858000"/>
              <a:gd name="connsiteX186" fmla="*/ 1537820 w 12207875"/>
              <a:gd name="connsiteY186" fmla="*/ 378050 h 6858000"/>
              <a:gd name="connsiteX187" fmla="*/ 1529948 w 12207875"/>
              <a:gd name="connsiteY187" fmla="*/ 376728 h 6858000"/>
              <a:gd name="connsiteX188" fmla="*/ 1415171 w 12207875"/>
              <a:gd name="connsiteY188" fmla="*/ 376728 h 6858000"/>
              <a:gd name="connsiteX189" fmla="*/ 1403530 w 12207875"/>
              <a:gd name="connsiteY189" fmla="*/ 379869 h 6858000"/>
              <a:gd name="connsiteX190" fmla="*/ 1395797 w 12207875"/>
              <a:gd name="connsiteY190" fmla="*/ 388574 h 6858000"/>
              <a:gd name="connsiteX191" fmla="*/ 1393025 w 12207875"/>
              <a:gd name="connsiteY191" fmla="*/ 401468 h 6858000"/>
              <a:gd name="connsiteX192" fmla="*/ 1395797 w 12207875"/>
              <a:gd name="connsiteY192" fmla="*/ 414389 h 6858000"/>
              <a:gd name="connsiteX193" fmla="*/ 1403641 w 12207875"/>
              <a:gd name="connsiteY193" fmla="*/ 422902 h 6858000"/>
              <a:gd name="connsiteX194" fmla="*/ 1415837 w 12207875"/>
              <a:gd name="connsiteY194" fmla="*/ 425932 h 6858000"/>
              <a:gd name="connsiteX195" fmla="*/ 1425177 w 12207875"/>
              <a:gd name="connsiteY195" fmla="*/ 424334 h 6858000"/>
              <a:gd name="connsiteX196" fmla="*/ 1431996 w 12207875"/>
              <a:gd name="connsiteY196" fmla="*/ 419844 h 6858000"/>
              <a:gd name="connsiteX197" fmla="*/ 1435793 w 12207875"/>
              <a:gd name="connsiteY197" fmla="*/ 413066 h 6858000"/>
              <a:gd name="connsiteX198" fmla="*/ 1426979 w 12207875"/>
              <a:gd name="connsiteY198" fmla="*/ 411496 h 6858000"/>
              <a:gd name="connsiteX199" fmla="*/ 1424540 w 12207875"/>
              <a:gd name="connsiteY199" fmla="*/ 415243 h 6858000"/>
              <a:gd name="connsiteX200" fmla="*/ 1420771 w 12207875"/>
              <a:gd name="connsiteY200" fmla="*/ 417530 h 6858000"/>
              <a:gd name="connsiteX201" fmla="*/ 1415947 w 12207875"/>
              <a:gd name="connsiteY201" fmla="*/ 418301 h 6858000"/>
              <a:gd name="connsiteX202" fmla="*/ 1408796 w 12207875"/>
              <a:gd name="connsiteY202" fmla="*/ 416538 h 6858000"/>
              <a:gd name="connsiteX203" fmla="*/ 1404057 w 12207875"/>
              <a:gd name="connsiteY203" fmla="*/ 411441 h 6858000"/>
              <a:gd name="connsiteX204" fmla="*/ 1402421 w 12207875"/>
              <a:gd name="connsiteY204" fmla="*/ 403975 h 6858000"/>
              <a:gd name="connsiteX205" fmla="*/ 1436403 w 12207875"/>
              <a:gd name="connsiteY205" fmla="*/ 403975 h 6858000"/>
              <a:gd name="connsiteX206" fmla="*/ 1436403 w 12207875"/>
              <a:gd name="connsiteY206" fmla="*/ 400696 h 6858000"/>
              <a:gd name="connsiteX207" fmla="*/ 1434657 w 12207875"/>
              <a:gd name="connsiteY207" fmla="*/ 389676 h 6858000"/>
              <a:gd name="connsiteX208" fmla="*/ 1429862 w 12207875"/>
              <a:gd name="connsiteY208" fmla="*/ 382238 h 6858000"/>
              <a:gd name="connsiteX209" fmla="*/ 1423043 w 12207875"/>
              <a:gd name="connsiteY209" fmla="*/ 378050 h 6858000"/>
              <a:gd name="connsiteX210" fmla="*/ 1415171 w 12207875"/>
              <a:gd name="connsiteY210" fmla="*/ 376728 h 6858000"/>
              <a:gd name="connsiteX211" fmla="*/ 1288086 w 12207875"/>
              <a:gd name="connsiteY211" fmla="*/ 376728 h 6858000"/>
              <a:gd name="connsiteX212" fmla="*/ 1279827 w 12207875"/>
              <a:gd name="connsiteY212" fmla="*/ 377940 h 6858000"/>
              <a:gd name="connsiteX213" fmla="*/ 1272897 w 12207875"/>
              <a:gd name="connsiteY213" fmla="*/ 381852 h 6858000"/>
              <a:gd name="connsiteX214" fmla="*/ 1268324 w 12207875"/>
              <a:gd name="connsiteY214" fmla="*/ 388877 h 6858000"/>
              <a:gd name="connsiteX215" fmla="*/ 1277083 w 12207875"/>
              <a:gd name="connsiteY215" fmla="*/ 390861 h 6858000"/>
              <a:gd name="connsiteX216" fmla="*/ 1280824 w 12207875"/>
              <a:gd name="connsiteY216" fmla="*/ 386288 h 6858000"/>
              <a:gd name="connsiteX217" fmla="*/ 1288225 w 12207875"/>
              <a:gd name="connsiteY217" fmla="*/ 384222 h 6858000"/>
              <a:gd name="connsiteX218" fmla="*/ 1295043 w 12207875"/>
              <a:gd name="connsiteY218" fmla="*/ 386453 h 6858000"/>
              <a:gd name="connsiteX219" fmla="*/ 1297344 w 12207875"/>
              <a:gd name="connsiteY219" fmla="*/ 392762 h 6858000"/>
              <a:gd name="connsiteX220" fmla="*/ 1297344 w 12207875"/>
              <a:gd name="connsiteY220" fmla="*/ 392982 h 6858000"/>
              <a:gd name="connsiteX221" fmla="*/ 1296124 w 12207875"/>
              <a:gd name="connsiteY221" fmla="*/ 395407 h 6858000"/>
              <a:gd name="connsiteX222" fmla="*/ 1292216 w 12207875"/>
              <a:gd name="connsiteY222" fmla="*/ 396481 h 6858000"/>
              <a:gd name="connsiteX223" fmla="*/ 1285231 w 12207875"/>
              <a:gd name="connsiteY223" fmla="*/ 397308 h 6858000"/>
              <a:gd name="connsiteX224" fmla="*/ 1278552 w 12207875"/>
              <a:gd name="connsiteY224" fmla="*/ 398492 h 6858000"/>
              <a:gd name="connsiteX225" fmla="*/ 1272620 w 12207875"/>
              <a:gd name="connsiteY225" fmla="*/ 400779 h 6858000"/>
              <a:gd name="connsiteX226" fmla="*/ 1268407 w 12207875"/>
              <a:gd name="connsiteY226" fmla="*/ 404912 h 6858000"/>
              <a:gd name="connsiteX227" fmla="*/ 1266855 w 12207875"/>
              <a:gd name="connsiteY227" fmla="*/ 411551 h 6858000"/>
              <a:gd name="connsiteX228" fmla="*/ 1268989 w 12207875"/>
              <a:gd name="connsiteY228" fmla="*/ 419458 h 6858000"/>
              <a:gd name="connsiteX229" fmla="*/ 1274810 w 12207875"/>
              <a:gd name="connsiteY229" fmla="*/ 424362 h 6858000"/>
              <a:gd name="connsiteX230" fmla="*/ 1283042 w 12207875"/>
              <a:gd name="connsiteY230" fmla="*/ 426042 h 6858000"/>
              <a:gd name="connsiteX231" fmla="*/ 1289832 w 12207875"/>
              <a:gd name="connsiteY231" fmla="*/ 424885 h 6858000"/>
              <a:gd name="connsiteX232" fmla="*/ 1294489 w 12207875"/>
              <a:gd name="connsiteY232" fmla="*/ 421992 h 6858000"/>
              <a:gd name="connsiteX233" fmla="*/ 1297205 w 12207875"/>
              <a:gd name="connsiteY233" fmla="*/ 418466 h 6858000"/>
              <a:gd name="connsiteX234" fmla="*/ 1297593 w 12207875"/>
              <a:gd name="connsiteY234" fmla="*/ 418466 h 6858000"/>
              <a:gd name="connsiteX235" fmla="*/ 1297593 w 12207875"/>
              <a:gd name="connsiteY235" fmla="*/ 424968 h 6858000"/>
              <a:gd name="connsiteX236" fmla="*/ 1306712 w 12207875"/>
              <a:gd name="connsiteY236" fmla="*/ 424968 h 6858000"/>
              <a:gd name="connsiteX237" fmla="*/ 1306712 w 12207875"/>
              <a:gd name="connsiteY237" fmla="*/ 393341 h 6858000"/>
              <a:gd name="connsiteX238" fmla="*/ 1304883 w 12207875"/>
              <a:gd name="connsiteY238" fmla="*/ 384855 h 6858000"/>
              <a:gd name="connsiteX239" fmla="*/ 1300227 w 12207875"/>
              <a:gd name="connsiteY239" fmla="*/ 379814 h 6858000"/>
              <a:gd name="connsiteX240" fmla="*/ 1294184 w 12207875"/>
              <a:gd name="connsiteY240" fmla="*/ 377389 h 6858000"/>
              <a:gd name="connsiteX241" fmla="*/ 1288086 w 12207875"/>
              <a:gd name="connsiteY241" fmla="*/ 376728 h 6858000"/>
              <a:gd name="connsiteX242" fmla="*/ 1181486 w 12207875"/>
              <a:gd name="connsiteY242" fmla="*/ 376728 h 6858000"/>
              <a:gd name="connsiteX243" fmla="*/ 1169733 w 12207875"/>
              <a:gd name="connsiteY243" fmla="*/ 379786 h 6858000"/>
              <a:gd name="connsiteX244" fmla="*/ 1161945 w 12207875"/>
              <a:gd name="connsiteY244" fmla="*/ 388409 h 6858000"/>
              <a:gd name="connsiteX245" fmla="*/ 1159173 w 12207875"/>
              <a:gd name="connsiteY245" fmla="*/ 401357 h 6858000"/>
              <a:gd name="connsiteX246" fmla="*/ 1161945 w 12207875"/>
              <a:gd name="connsiteY246" fmla="*/ 414251 h 6858000"/>
              <a:gd name="connsiteX247" fmla="*/ 1169733 w 12207875"/>
              <a:gd name="connsiteY247" fmla="*/ 422846 h 6858000"/>
              <a:gd name="connsiteX248" fmla="*/ 1181486 w 12207875"/>
              <a:gd name="connsiteY248" fmla="*/ 425904 h 6858000"/>
              <a:gd name="connsiteX249" fmla="*/ 1193238 w 12207875"/>
              <a:gd name="connsiteY249" fmla="*/ 422846 h 6858000"/>
              <a:gd name="connsiteX250" fmla="*/ 1201026 w 12207875"/>
              <a:gd name="connsiteY250" fmla="*/ 414251 h 6858000"/>
              <a:gd name="connsiteX251" fmla="*/ 1203798 w 12207875"/>
              <a:gd name="connsiteY251" fmla="*/ 401357 h 6858000"/>
              <a:gd name="connsiteX252" fmla="*/ 1201026 w 12207875"/>
              <a:gd name="connsiteY252" fmla="*/ 388409 h 6858000"/>
              <a:gd name="connsiteX253" fmla="*/ 1193238 w 12207875"/>
              <a:gd name="connsiteY253" fmla="*/ 379786 h 6858000"/>
              <a:gd name="connsiteX254" fmla="*/ 1181486 w 12207875"/>
              <a:gd name="connsiteY254" fmla="*/ 376728 h 6858000"/>
              <a:gd name="connsiteX255" fmla="*/ 1582528 w 12207875"/>
              <a:gd name="connsiteY255" fmla="*/ 376618 h 6858000"/>
              <a:gd name="connsiteX256" fmla="*/ 1574989 w 12207875"/>
              <a:gd name="connsiteY256" fmla="*/ 378822 h 6858000"/>
              <a:gd name="connsiteX257" fmla="*/ 1570360 w 12207875"/>
              <a:gd name="connsiteY257" fmla="*/ 384883 h 6858000"/>
              <a:gd name="connsiteX258" fmla="*/ 1569861 w 12207875"/>
              <a:gd name="connsiteY258" fmla="*/ 384883 h 6858000"/>
              <a:gd name="connsiteX259" fmla="*/ 1569861 w 12207875"/>
              <a:gd name="connsiteY259" fmla="*/ 377307 h 6858000"/>
              <a:gd name="connsiteX260" fmla="*/ 1560853 w 12207875"/>
              <a:gd name="connsiteY260" fmla="*/ 377307 h 6858000"/>
              <a:gd name="connsiteX261" fmla="*/ 1560853 w 12207875"/>
              <a:gd name="connsiteY261" fmla="*/ 424913 h 6858000"/>
              <a:gd name="connsiteX262" fmla="*/ 1570194 w 12207875"/>
              <a:gd name="connsiteY262" fmla="*/ 424913 h 6858000"/>
              <a:gd name="connsiteX263" fmla="*/ 1570194 w 12207875"/>
              <a:gd name="connsiteY263" fmla="*/ 395875 h 6858000"/>
              <a:gd name="connsiteX264" fmla="*/ 1571690 w 12207875"/>
              <a:gd name="connsiteY264" fmla="*/ 390338 h 6858000"/>
              <a:gd name="connsiteX265" fmla="*/ 1575765 w 12207875"/>
              <a:gd name="connsiteY265" fmla="*/ 386536 h 6858000"/>
              <a:gd name="connsiteX266" fmla="*/ 1581641 w 12207875"/>
              <a:gd name="connsiteY266" fmla="*/ 385159 h 6858000"/>
              <a:gd name="connsiteX267" fmla="*/ 1584496 w 12207875"/>
              <a:gd name="connsiteY267" fmla="*/ 385351 h 6858000"/>
              <a:gd name="connsiteX268" fmla="*/ 1586491 w 12207875"/>
              <a:gd name="connsiteY268" fmla="*/ 385710 h 6858000"/>
              <a:gd name="connsiteX269" fmla="*/ 1586491 w 12207875"/>
              <a:gd name="connsiteY269" fmla="*/ 376838 h 6858000"/>
              <a:gd name="connsiteX270" fmla="*/ 1584607 w 12207875"/>
              <a:gd name="connsiteY270" fmla="*/ 376673 h 6858000"/>
              <a:gd name="connsiteX271" fmla="*/ 1582528 w 12207875"/>
              <a:gd name="connsiteY271" fmla="*/ 376618 h 6858000"/>
              <a:gd name="connsiteX272" fmla="*/ 1235146 w 12207875"/>
              <a:gd name="connsiteY272" fmla="*/ 376618 h 6858000"/>
              <a:gd name="connsiteX273" fmla="*/ 1227607 w 12207875"/>
              <a:gd name="connsiteY273" fmla="*/ 378822 h 6858000"/>
              <a:gd name="connsiteX274" fmla="*/ 1222978 w 12207875"/>
              <a:gd name="connsiteY274" fmla="*/ 384883 h 6858000"/>
              <a:gd name="connsiteX275" fmla="*/ 1222479 w 12207875"/>
              <a:gd name="connsiteY275" fmla="*/ 384883 h 6858000"/>
              <a:gd name="connsiteX276" fmla="*/ 1222479 w 12207875"/>
              <a:gd name="connsiteY276" fmla="*/ 377334 h 6858000"/>
              <a:gd name="connsiteX277" fmla="*/ 1213471 w 12207875"/>
              <a:gd name="connsiteY277" fmla="*/ 377334 h 6858000"/>
              <a:gd name="connsiteX278" fmla="*/ 1213471 w 12207875"/>
              <a:gd name="connsiteY278" fmla="*/ 424941 h 6858000"/>
              <a:gd name="connsiteX279" fmla="*/ 1222812 w 12207875"/>
              <a:gd name="connsiteY279" fmla="*/ 424941 h 6858000"/>
              <a:gd name="connsiteX280" fmla="*/ 1222812 w 12207875"/>
              <a:gd name="connsiteY280" fmla="*/ 395876 h 6858000"/>
              <a:gd name="connsiteX281" fmla="*/ 1224308 w 12207875"/>
              <a:gd name="connsiteY281" fmla="*/ 390338 h 6858000"/>
              <a:gd name="connsiteX282" fmla="*/ 1228383 w 12207875"/>
              <a:gd name="connsiteY282" fmla="*/ 386536 h 6858000"/>
              <a:gd name="connsiteX283" fmla="*/ 1234259 w 12207875"/>
              <a:gd name="connsiteY283" fmla="*/ 385159 h 6858000"/>
              <a:gd name="connsiteX284" fmla="*/ 1237114 w 12207875"/>
              <a:gd name="connsiteY284" fmla="*/ 385351 h 6858000"/>
              <a:gd name="connsiteX285" fmla="*/ 1239109 w 12207875"/>
              <a:gd name="connsiteY285" fmla="*/ 385710 h 6858000"/>
              <a:gd name="connsiteX286" fmla="*/ 1239109 w 12207875"/>
              <a:gd name="connsiteY286" fmla="*/ 376838 h 6858000"/>
              <a:gd name="connsiteX287" fmla="*/ 1237224 w 12207875"/>
              <a:gd name="connsiteY287" fmla="*/ 376673 h 6858000"/>
              <a:gd name="connsiteX288" fmla="*/ 1235146 w 12207875"/>
              <a:gd name="connsiteY288" fmla="*/ 376618 h 6858000"/>
              <a:gd name="connsiteX289" fmla="*/ 1481194 w 12207875"/>
              <a:gd name="connsiteY289" fmla="*/ 365956 h 6858000"/>
              <a:gd name="connsiteX290" fmla="*/ 1481194 w 12207875"/>
              <a:gd name="connsiteY290" fmla="*/ 377362 h 6858000"/>
              <a:gd name="connsiteX291" fmla="*/ 1474181 w 12207875"/>
              <a:gd name="connsiteY291" fmla="*/ 377362 h 6858000"/>
              <a:gd name="connsiteX292" fmla="*/ 1474181 w 12207875"/>
              <a:gd name="connsiteY292" fmla="*/ 384800 h 6858000"/>
              <a:gd name="connsiteX293" fmla="*/ 1481194 w 12207875"/>
              <a:gd name="connsiteY293" fmla="*/ 384800 h 6858000"/>
              <a:gd name="connsiteX294" fmla="*/ 1481194 w 12207875"/>
              <a:gd name="connsiteY294" fmla="*/ 412929 h 6858000"/>
              <a:gd name="connsiteX295" fmla="*/ 1483161 w 12207875"/>
              <a:gd name="connsiteY295" fmla="*/ 420092 h 6858000"/>
              <a:gd name="connsiteX296" fmla="*/ 1488317 w 12207875"/>
              <a:gd name="connsiteY296" fmla="*/ 424307 h 6858000"/>
              <a:gd name="connsiteX297" fmla="*/ 1495191 w 12207875"/>
              <a:gd name="connsiteY297" fmla="*/ 425602 h 6858000"/>
              <a:gd name="connsiteX298" fmla="*/ 1498933 w 12207875"/>
              <a:gd name="connsiteY298" fmla="*/ 425243 h 6858000"/>
              <a:gd name="connsiteX299" fmla="*/ 1501233 w 12207875"/>
              <a:gd name="connsiteY299" fmla="*/ 424610 h 6858000"/>
              <a:gd name="connsiteX300" fmla="*/ 1499542 w 12207875"/>
              <a:gd name="connsiteY300" fmla="*/ 416951 h 6858000"/>
              <a:gd name="connsiteX301" fmla="*/ 1498240 w 12207875"/>
              <a:gd name="connsiteY301" fmla="*/ 417171 h 6858000"/>
              <a:gd name="connsiteX302" fmla="*/ 1496272 w 12207875"/>
              <a:gd name="connsiteY302" fmla="*/ 417337 h 6858000"/>
              <a:gd name="connsiteX303" fmla="*/ 1493445 w 12207875"/>
              <a:gd name="connsiteY303" fmla="*/ 416868 h 6858000"/>
              <a:gd name="connsiteX304" fmla="*/ 1491338 w 12207875"/>
              <a:gd name="connsiteY304" fmla="*/ 415050 h 6858000"/>
              <a:gd name="connsiteX305" fmla="*/ 1490534 w 12207875"/>
              <a:gd name="connsiteY305" fmla="*/ 411000 h 6858000"/>
              <a:gd name="connsiteX306" fmla="*/ 1490534 w 12207875"/>
              <a:gd name="connsiteY306" fmla="*/ 384800 h 6858000"/>
              <a:gd name="connsiteX307" fmla="*/ 1500346 w 12207875"/>
              <a:gd name="connsiteY307" fmla="*/ 384800 h 6858000"/>
              <a:gd name="connsiteX308" fmla="*/ 1500346 w 12207875"/>
              <a:gd name="connsiteY308" fmla="*/ 377362 h 6858000"/>
              <a:gd name="connsiteX309" fmla="*/ 1490534 w 12207875"/>
              <a:gd name="connsiteY309" fmla="*/ 377362 h 6858000"/>
              <a:gd name="connsiteX310" fmla="*/ 1490534 w 12207875"/>
              <a:gd name="connsiteY310" fmla="*/ 365956 h 6858000"/>
              <a:gd name="connsiteX311" fmla="*/ 1449264 w 12207875"/>
              <a:gd name="connsiteY311" fmla="*/ 365956 h 6858000"/>
              <a:gd name="connsiteX312" fmla="*/ 1449264 w 12207875"/>
              <a:gd name="connsiteY312" fmla="*/ 377362 h 6858000"/>
              <a:gd name="connsiteX313" fmla="*/ 1442251 w 12207875"/>
              <a:gd name="connsiteY313" fmla="*/ 377362 h 6858000"/>
              <a:gd name="connsiteX314" fmla="*/ 1442251 w 12207875"/>
              <a:gd name="connsiteY314" fmla="*/ 384800 h 6858000"/>
              <a:gd name="connsiteX315" fmla="*/ 1449264 w 12207875"/>
              <a:gd name="connsiteY315" fmla="*/ 384800 h 6858000"/>
              <a:gd name="connsiteX316" fmla="*/ 1449264 w 12207875"/>
              <a:gd name="connsiteY316" fmla="*/ 412929 h 6858000"/>
              <a:gd name="connsiteX317" fmla="*/ 1451232 w 12207875"/>
              <a:gd name="connsiteY317" fmla="*/ 420092 h 6858000"/>
              <a:gd name="connsiteX318" fmla="*/ 1456387 w 12207875"/>
              <a:gd name="connsiteY318" fmla="*/ 424307 h 6858000"/>
              <a:gd name="connsiteX319" fmla="*/ 1463261 w 12207875"/>
              <a:gd name="connsiteY319" fmla="*/ 425602 h 6858000"/>
              <a:gd name="connsiteX320" fmla="*/ 1467003 w 12207875"/>
              <a:gd name="connsiteY320" fmla="*/ 425243 h 6858000"/>
              <a:gd name="connsiteX321" fmla="*/ 1469303 w 12207875"/>
              <a:gd name="connsiteY321" fmla="*/ 424610 h 6858000"/>
              <a:gd name="connsiteX322" fmla="*/ 1467612 w 12207875"/>
              <a:gd name="connsiteY322" fmla="*/ 416951 h 6858000"/>
              <a:gd name="connsiteX323" fmla="*/ 1466310 w 12207875"/>
              <a:gd name="connsiteY323" fmla="*/ 417171 h 6858000"/>
              <a:gd name="connsiteX324" fmla="*/ 1464342 w 12207875"/>
              <a:gd name="connsiteY324" fmla="*/ 417337 h 6858000"/>
              <a:gd name="connsiteX325" fmla="*/ 1461515 w 12207875"/>
              <a:gd name="connsiteY325" fmla="*/ 416868 h 6858000"/>
              <a:gd name="connsiteX326" fmla="*/ 1459408 w 12207875"/>
              <a:gd name="connsiteY326" fmla="*/ 415050 h 6858000"/>
              <a:gd name="connsiteX327" fmla="*/ 1458604 w 12207875"/>
              <a:gd name="connsiteY327" fmla="*/ 411000 h 6858000"/>
              <a:gd name="connsiteX328" fmla="*/ 1458604 w 12207875"/>
              <a:gd name="connsiteY328" fmla="*/ 384800 h 6858000"/>
              <a:gd name="connsiteX329" fmla="*/ 1468416 w 12207875"/>
              <a:gd name="connsiteY329" fmla="*/ 384800 h 6858000"/>
              <a:gd name="connsiteX330" fmla="*/ 1468416 w 12207875"/>
              <a:gd name="connsiteY330" fmla="*/ 377362 h 6858000"/>
              <a:gd name="connsiteX331" fmla="*/ 1458604 w 12207875"/>
              <a:gd name="connsiteY331" fmla="*/ 377362 h 6858000"/>
              <a:gd name="connsiteX332" fmla="*/ 1458604 w 12207875"/>
              <a:gd name="connsiteY332" fmla="*/ 365956 h 6858000"/>
              <a:gd name="connsiteX333" fmla="*/ 1341692 w 12207875"/>
              <a:gd name="connsiteY333" fmla="*/ 361466 h 6858000"/>
              <a:gd name="connsiteX334" fmla="*/ 1341692 w 12207875"/>
              <a:gd name="connsiteY334" fmla="*/ 424941 h 6858000"/>
              <a:gd name="connsiteX335" fmla="*/ 1350783 w 12207875"/>
              <a:gd name="connsiteY335" fmla="*/ 424941 h 6858000"/>
              <a:gd name="connsiteX336" fmla="*/ 1350783 w 12207875"/>
              <a:gd name="connsiteY336" fmla="*/ 417530 h 6858000"/>
              <a:gd name="connsiteX337" fmla="*/ 1351560 w 12207875"/>
              <a:gd name="connsiteY337" fmla="*/ 417530 h 6858000"/>
              <a:gd name="connsiteX338" fmla="*/ 1353971 w 12207875"/>
              <a:gd name="connsiteY338" fmla="*/ 421002 h 6858000"/>
              <a:gd name="connsiteX339" fmla="*/ 1358295 w 12207875"/>
              <a:gd name="connsiteY339" fmla="*/ 424418 h 6858000"/>
              <a:gd name="connsiteX340" fmla="*/ 1365418 w 12207875"/>
              <a:gd name="connsiteY340" fmla="*/ 425878 h 6858000"/>
              <a:gd name="connsiteX341" fmla="*/ 1375757 w 12207875"/>
              <a:gd name="connsiteY341" fmla="*/ 422930 h 6858000"/>
              <a:gd name="connsiteX342" fmla="*/ 1382881 w 12207875"/>
              <a:gd name="connsiteY342" fmla="*/ 414472 h 6858000"/>
              <a:gd name="connsiteX343" fmla="*/ 1385458 w 12207875"/>
              <a:gd name="connsiteY343" fmla="*/ 401248 h 6858000"/>
              <a:gd name="connsiteX344" fmla="*/ 1382853 w 12207875"/>
              <a:gd name="connsiteY344" fmla="*/ 388052 h 6858000"/>
              <a:gd name="connsiteX345" fmla="*/ 1375674 w 12207875"/>
              <a:gd name="connsiteY345" fmla="*/ 379621 h 6858000"/>
              <a:gd name="connsiteX346" fmla="*/ 1365335 w 12207875"/>
              <a:gd name="connsiteY346" fmla="*/ 376701 h 6858000"/>
              <a:gd name="connsiteX347" fmla="*/ 1358156 w 12207875"/>
              <a:gd name="connsiteY347" fmla="*/ 378161 h 6858000"/>
              <a:gd name="connsiteX348" fmla="*/ 1353916 w 12207875"/>
              <a:gd name="connsiteY348" fmla="*/ 381578 h 6858000"/>
              <a:gd name="connsiteX349" fmla="*/ 1351560 w 12207875"/>
              <a:gd name="connsiteY349" fmla="*/ 385021 h 6858000"/>
              <a:gd name="connsiteX350" fmla="*/ 1351005 w 12207875"/>
              <a:gd name="connsiteY350" fmla="*/ 385021 h 6858000"/>
              <a:gd name="connsiteX351" fmla="*/ 1351005 w 12207875"/>
              <a:gd name="connsiteY351" fmla="*/ 361466 h 6858000"/>
              <a:gd name="connsiteX352" fmla="*/ 1146949 w 12207875"/>
              <a:gd name="connsiteY352" fmla="*/ 358490 h 6858000"/>
              <a:gd name="connsiteX353" fmla="*/ 1139909 w 12207875"/>
              <a:gd name="connsiteY353" fmla="*/ 359978 h 6858000"/>
              <a:gd name="connsiteX354" fmla="*/ 1134698 w 12207875"/>
              <a:gd name="connsiteY354" fmla="*/ 364413 h 6858000"/>
              <a:gd name="connsiteX355" fmla="*/ 1132730 w 12207875"/>
              <a:gd name="connsiteY355" fmla="*/ 371824 h 6858000"/>
              <a:gd name="connsiteX356" fmla="*/ 1132730 w 12207875"/>
              <a:gd name="connsiteY356" fmla="*/ 377334 h 6858000"/>
              <a:gd name="connsiteX357" fmla="*/ 1125302 w 12207875"/>
              <a:gd name="connsiteY357" fmla="*/ 377334 h 6858000"/>
              <a:gd name="connsiteX358" fmla="*/ 1125302 w 12207875"/>
              <a:gd name="connsiteY358" fmla="*/ 384773 h 6858000"/>
              <a:gd name="connsiteX359" fmla="*/ 1132730 w 12207875"/>
              <a:gd name="connsiteY359" fmla="*/ 384773 h 6858000"/>
              <a:gd name="connsiteX360" fmla="*/ 1132730 w 12207875"/>
              <a:gd name="connsiteY360" fmla="*/ 424968 h 6858000"/>
              <a:gd name="connsiteX361" fmla="*/ 1142043 w 12207875"/>
              <a:gd name="connsiteY361" fmla="*/ 424968 h 6858000"/>
              <a:gd name="connsiteX362" fmla="*/ 1142043 w 12207875"/>
              <a:gd name="connsiteY362" fmla="*/ 384773 h 6858000"/>
              <a:gd name="connsiteX363" fmla="*/ 1152382 w 12207875"/>
              <a:gd name="connsiteY363" fmla="*/ 384773 h 6858000"/>
              <a:gd name="connsiteX364" fmla="*/ 1152382 w 12207875"/>
              <a:gd name="connsiteY364" fmla="*/ 377334 h 6858000"/>
              <a:gd name="connsiteX365" fmla="*/ 1142043 w 12207875"/>
              <a:gd name="connsiteY365" fmla="*/ 377334 h 6858000"/>
              <a:gd name="connsiteX366" fmla="*/ 1142043 w 12207875"/>
              <a:gd name="connsiteY366" fmla="*/ 373064 h 6858000"/>
              <a:gd name="connsiteX367" fmla="*/ 1143485 w 12207875"/>
              <a:gd name="connsiteY367" fmla="*/ 368215 h 6858000"/>
              <a:gd name="connsiteX368" fmla="*/ 1148335 w 12207875"/>
              <a:gd name="connsiteY368" fmla="*/ 366535 h 6858000"/>
              <a:gd name="connsiteX369" fmla="*/ 1150830 w 12207875"/>
              <a:gd name="connsiteY369" fmla="*/ 366810 h 6858000"/>
              <a:gd name="connsiteX370" fmla="*/ 1152520 w 12207875"/>
              <a:gd name="connsiteY370" fmla="*/ 367251 h 6858000"/>
              <a:gd name="connsiteX371" fmla="*/ 1154710 w 12207875"/>
              <a:gd name="connsiteY371" fmla="*/ 359757 h 6858000"/>
              <a:gd name="connsiteX372" fmla="*/ 1151744 w 12207875"/>
              <a:gd name="connsiteY372" fmla="*/ 358931 h 6858000"/>
              <a:gd name="connsiteX373" fmla="*/ 1146949 w 12207875"/>
              <a:gd name="connsiteY373" fmla="*/ 358490 h 6858000"/>
              <a:gd name="connsiteX374" fmla="*/ 1594752 w 12207875"/>
              <a:gd name="connsiteY374" fmla="*/ 295704 h 6858000"/>
              <a:gd name="connsiteX375" fmla="*/ 1601626 w 12207875"/>
              <a:gd name="connsiteY375" fmla="*/ 297770 h 6858000"/>
              <a:gd name="connsiteX376" fmla="*/ 1605839 w 12207875"/>
              <a:gd name="connsiteY376" fmla="*/ 303501 h 6858000"/>
              <a:gd name="connsiteX377" fmla="*/ 1607280 w 12207875"/>
              <a:gd name="connsiteY377" fmla="*/ 311958 h 6858000"/>
              <a:gd name="connsiteX378" fmla="*/ 1605811 w 12207875"/>
              <a:gd name="connsiteY378" fmla="*/ 320361 h 6858000"/>
              <a:gd name="connsiteX379" fmla="*/ 1601570 w 12207875"/>
              <a:gd name="connsiteY379" fmla="*/ 325761 h 6858000"/>
              <a:gd name="connsiteX380" fmla="*/ 1594752 w 12207875"/>
              <a:gd name="connsiteY380" fmla="*/ 327634 h 6858000"/>
              <a:gd name="connsiteX381" fmla="*/ 1587795 w 12207875"/>
              <a:gd name="connsiteY381" fmla="*/ 325651 h 6858000"/>
              <a:gd name="connsiteX382" fmla="*/ 1583554 w 12207875"/>
              <a:gd name="connsiteY382" fmla="*/ 320141 h 6858000"/>
              <a:gd name="connsiteX383" fmla="*/ 1582112 w 12207875"/>
              <a:gd name="connsiteY383" fmla="*/ 311931 h 6858000"/>
              <a:gd name="connsiteX384" fmla="*/ 1583526 w 12207875"/>
              <a:gd name="connsiteY384" fmla="*/ 303693 h 6858000"/>
              <a:gd name="connsiteX385" fmla="*/ 1587739 w 12207875"/>
              <a:gd name="connsiteY385" fmla="*/ 297853 h 6858000"/>
              <a:gd name="connsiteX386" fmla="*/ 1594752 w 12207875"/>
              <a:gd name="connsiteY386" fmla="*/ 295704 h 6858000"/>
              <a:gd name="connsiteX387" fmla="*/ 1254992 w 12207875"/>
              <a:gd name="connsiteY387" fmla="*/ 295704 h 6858000"/>
              <a:gd name="connsiteX388" fmla="*/ 1261866 w 12207875"/>
              <a:gd name="connsiteY388" fmla="*/ 297770 h 6858000"/>
              <a:gd name="connsiteX389" fmla="*/ 1266079 w 12207875"/>
              <a:gd name="connsiteY389" fmla="*/ 303501 h 6858000"/>
              <a:gd name="connsiteX390" fmla="*/ 1267520 w 12207875"/>
              <a:gd name="connsiteY390" fmla="*/ 311958 h 6858000"/>
              <a:gd name="connsiteX391" fmla="*/ 1266051 w 12207875"/>
              <a:gd name="connsiteY391" fmla="*/ 320361 h 6858000"/>
              <a:gd name="connsiteX392" fmla="*/ 1261810 w 12207875"/>
              <a:gd name="connsiteY392" fmla="*/ 325761 h 6858000"/>
              <a:gd name="connsiteX393" fmla="*/ 1254992 w 12207875"/>
              <a:gd name="connsiteY393" fmla="*/ 327634 h 6858000"/>
              <a:gd name="connsiteX394" fmla="*/ 1248035 w 12207875"/>
              <a:gd name="connsiteY394" fmla="*/ 325651 h 6858000"/>
              <a:gd name="connsiteX395" fmla="*/ 1243794 w 12207875"/>
              <a:gd name="connsiteY395" fmla="*/ 320141 h 6858000"/>
              <a:gd name="connsiteX396" fmla="*/ 1242353 w 12207875"/>
              <a:gd name="connsiteY396" fmla="*/ 311931 h 6858000"/>
              <a:gd name="connsiteX397" fmla="*/ 1243766 w 12207875"/>
              <a:gd name="connsiteY397" fmla="*/ 303693 h 6858000"/>
              <a:gd name="connsiteX398" fmla="*/ 1247979 w 12207875"/>
              <a:gd name="connsiteY398" fmla="*/ 297853 h 6858000"/>
              <a:gd name="connsiteX399" fmla="*/ 1254992 w 12207875"/>
              <a:gd name="connsiteY399" fmla="*/ 295704 h 6858000"/>
              <a:gd name="connsiteX400" fmla="*/ 1435155 w 12207875"/>
              <a:gd name="connsiteY400" fmla="*/ 295456 h 6858000"/>
              <a:gd name="connsiteX401" fmla="*/ 1441474 w 12207875"/>
              <a:gd name="connsiteY401" fmla="*/ 297109 h 6858000"/>
              <a:gd name="connsiteX402" fmla="*/ 1445660 w 12207875"/>
              <a:gd name="connsiteY402" fmla="*/ 301599 h 6858000"/>
              <a:gd name="connsiteX403" fmla="*/ 1447156 w 12207875"/>
              <a:gd name="connsiteY403" fmla="*/ 308101 h 6858000"/>
              <a:gd name="connsiteX404" fmla="*/ 1422349 w 12207875"/>
              <a:gd name="connsiteY404" fmla="*/ 308101 h 6858000"/>
              <a:gd name="connsiteX405" fmla="*/ 1423818 w 12207875"/>
              <a:gd name="connsiteY405" fmla="*/ 302316 h 6858000"/>
              <a:gd name="connsiteX406" fmla="*/ 1428309 w 12207875"/>
              <a:gd name="connsiteY406" fmla="*/ 297357 h 6858000"/>
              <a:gd name="connsiteX407" fmla="*/ 1435155 w 12207875"/>
              <a:gd name="connsiteY407" fmla="*/ 295456 h 6858000"/>
              <a:gd name="connsiteX408" fmla="*/ 1383573 w 12207875"/>
              <a:gd name="connsiteY408" fmla="*/ 295456 h 6858000"/>
              <a:gd name="connsiteX409" fmla="*/ 1389893 w 12207875"/>
              <a:gd name="connsiteY409" fmla="*/ 297109 h 6858000"/>
              <a:gd name="connsiteX410" fmla="*/ 1394078 w 12207875"/>
              <a:gd name="connsiteY410" fmla="*/ 301599 h 6858000"/>
              <a:gd name="connsiteX411" fmla="*/ 1395575 w 12207875"/>
              <a:gd name="connsiteY411" fmla="*/ 308101 h 6858000"/>
              <a:gd name="connsiteX412" fmla="*/ 1370768 w 12207875"/>
              <a:gd name="connsiteY412" fmla="*/ 308101 h 6858000"/>
              <a:gd name="connsiteX413" fmla="*/ 1372237 w 12207875"/>
              <a:gd name="connsiteY413" fmla="*/ 302316 h 6858000"/>
              <a:gd name="connsiteX414" fmla="*/ 1376727 w 12207875"/>
              <a:gd name="connsiteY414" fmla="*/ 297357 h 6858000"/>
              <a:gd name="connsiteX415" fmla="*/ 1383573 w 12207875"/>
              <a:gd name="connsiteY415" fmla="*/ 295456 h 6858000"/>
              <a:gd name="connsiteX416" fmla="*/ 1500429 w 12207875"/>
              <a:gd name="connsiteY416" fmla="*/ 288403 h 6858000"/>
              <a:gd name="connsiteX417" fmla="*/ 1500429 w 12207875"/>
              <a:gd name="connsiteY417" fmla="*/ 336009 h 6858000"/>
              <a:gd name="connsiteX418" fmla="*/ 1509770 w 12207875"/>
              <a:gd name="connsiteY418" fmla="*/ 336009 h 6858000"/>
              <a:gd name="connsiteX419" fmla="*/ 1509770 w 12207875"/>
              <a:gd name="connsiteY419" fmla="*/ 288403 h 6858000"/>
              <a:gd name="connsiteX420" fmla="*/ 1289195 w 12207875"/>
              <a:gd name="connsiteY420" fmla="*/ 288403 h 6858000"/>
              <a:gd name="connsiteX421" fmla="*/ 1289195 w 12207875"/>
              <a:gd name="connsiteY421" fmla="*/ 336009 h 6858000"/>
              <a:gd name="connsiteX422" fmla="*/ 1298536 w 12207875"/>
              <a:gd name="connsiteY422" fmla="*/ 336009 h 6858000"/>
              <a:gd name="connsiteX423" fmla="*/ 1298536 w 12207875"/>
              <a:gd name="connsiteY423" fmla="*/ 288403 h 6858000"/>
              <a:gd name="connsiteX424" fmla="*/ 1435099 w 12207875"/>
              <a:gd name="connsiteY424" fmla="*/ 287852 h 6858000"/>
              <a:gd name="connsiteX425" fmla="*/ 1423458 w 12207875"/>
              <a:gd name="connsiteY425" fmla="*/ 290993 h 6858000"/>
              <a:gd name="connsiteX426" fmla="*/ 1415725 w 12207875"/>
              <a:gd name="connsiteY426" fmla="*/ 299699 h 6858000"/>
              <a:gd name="connsiteX427" fmla="*/ 1412953 w 12207875"/>
              <a:gd name="connsiteY427" fmla="*/ 312592 h 6858000"/>
              <a:gd name="connsiteX428" fmla="*/ 1415725 w 12207875"/>
              <a:gd name="connsiteY428" fmla="*/ 325513 h 6858000"/>
              <a:gd name="connsiteX429" fmla="*/ 1423569 w 12207875"/>
              <a:gd name="connsiteY429" fmla="*/ 333971 h 6858000"/>
              <a:gd name="connsiteX430" fmla="*/ 1435765 w 12207875"/>
              <a:gd name="connsiteY430" fmla="*/ 337001 h 6858000"/>
              <a:gd name="connsiteX431" fmla="*/ 1445105 w 12207875"/>
              <a:gd name="connsiteY431" fmla="*/ 335403 h 6858000"/>
              <a:gd name="connsiteX432" fmla="*/ 1451924 w 12207875"/>
              <a:gd name="connsiteY432" fmla="*/ 330913 h 6858000"/>
              <a:gd name="connsiteX433" fmla="*/ 1455721 w 12207875"/>
              <a:gd name="connsiteY433" fmla="*/ 324135 h 6858000"/>
              <a:gd name="connsiteX434" fmla="*/ 1446907 w 12207875"/>
              <a:gd name="connsiteY434" fmla="*/ 322565 h 6858000"/>
              <a:gd name="connsiteX435" fmla="*/ 1444468 w 12207875"/>
              <a:gd name="connsiteY435" fmla="*/ 326312 h 6858000"/>
              <a:gd name="connsiteX436" fmla="*/ 1440698 w 12207875"/>
              <a:gd name="connsiteY436" fmla="*/ 328598 h 6858000"/>
              <a:gd name="connsiteX437" fmla="*/ 1435875 w 12207875"/>
              <a:gd name="connsiteY437" fmla="*/ 329370 h 6858000"/>
              <a:gd name="connsiteX438" fmla="*/ 1428724 w 12207875"/>
              <a:gd name="connsiteY438" fmla="*/ 327607 h 6858000"/>
              <a:gd name="connsiteX439" fmla="*/ 1423985 w 12207875"/>
              <a:gd name="connsiteY439" fmla="*/ 322510 h 6858000"/>
              <a:gd name="connsiteX440" fmla="*/ 1422349 w 12207875"/>
              <a:gd name="connsiteY440" fmla="*/ 315044 h 6858000"/>
              <a:gd name="connsiteX441" fmla="*/ 1456303 w 12207875"/>
              <a:gd name="connsiteY441" fmla="*/ 315044 h 6858000"/>
              <a:gd name="connsiteX442" fmla="*/ 1456303 w 12207875"/>
              <a:gd name="connsiteY442" fmla="*/ 311765 h 6858000"/>
              <a:gd name="connsiteX443" fmla="*/ 1454557 w 12207875"/>
              <a:gd name="connsiteY443" fmla="*/ 300745 h 6858000"/>
              <a:gd name="connsiteX444" fmla="*/ 1449789 w 12207875"/>
              <a:gd name="connsiteY444" fmla="*/ 293362 h 6858000"/>
              <a:gd name="connsiteX445" fmla="*/ 1442971 w 12207875"/>
              <a:gd name="connsiteY445" fmla="*/ 289174 h 6858000"/>
              <a:gd name="connsiteX446" fmla="*/ 1435099 w 12207875"/>
              <a:gd name="connsiteY446" fmla="*/ 287852 h 6858000"/>
              <a:gd name="connsiteX447" fmla="*/ 1383545 w 12207875"/>
              <a:gd name="connsiteY447" fmla="*/ 287852 h 6858000"/>
              <a:gd name="connsiteX448" fmla="*/ 1371904 w 12207875"/>
              <a:gd name="connsiteY448" fmla="*/ 290993 h 6858000"/>
              <a:gd name="connsiteX449" fmla="*/ 1364171 w 12207875"/>
              <a:gd name="connsiteY449" fmla="*/ 299699 h 6858000"/>
              <a:gd name="connsiteX450" fmla="*/ 1361399 w 12207875"/>
              <a:gd name="connsiteY450" fmla="*/ 312592 h 6858000"/>
              <a:gd name="connsiteX451" fmla="*/ 1364171 w 12207875"/>
              <a:gd name="connsiteY451" fmla="*/ 325513 h 6858000"/>
              <a:gd name="connsiteX452" fmla="*/ 1371987 w 12207875"/>
              <a:gd name="connsiteY452" fmla="*/ 333971 h 6858000"/>
              <a:gd name="connsiteX453" fmla="*/ 1384183 w 12207875"/>
              <a:gd name="connsiteY453" fmla="*/ 337001 h 6858000"/>
              <a:gd name="connsiteX454" fmla="*/ 1393524 w 12207875"/>
              <a:gd name="connsiteY454" fmla="*/ 335403 h 6858000"/>
              <a:gd name="connsiteX455" fmla="*/ 1400342 w 12207875"/>
              <a:gd name="connsiteY455" fmla="*/ 330913 h 6858000"/>
              <a:gd name="connsiteX456" fmla="*/ 1404139 w 12207875"/>
              <a:gd name="connsiteY456" fmla="*/ 324135 h 6858000"/>
              <a:gd name="connsiteX457" fmla="*/ 1395325 w 12207875"/>
              <a:gd name="connsiteY457" fmla="*/ 322565 h 6858000"/>
              <a:gd name="connsiteX458" fmla="*/ 1392886 w 12207875"/>
              <a:gd name="connsiteY458" fmla="*/ 326312 h 6858000"/>
              <a:gd name="connsiteX459" fmla="*/ 1389116 w 12207875"/>
              <a:gd name="connsiteY459" fmla="*/ 328598 h 6858000"/>
              <a:gd name="connsiteX460" fmla="*/ 1384294 w 12207875"/>
              <a:gd name="connsiteY460" fmla="*/ 329370 h 6858000"/>
              <a:gd name="connsiteX461" fmla="*/ 1377143 w 12207875"/>
              <a:gd name="connsiteY461" fmla="*/ 327607 h 6858000"/>
              <a:gd name="connsiteX462" fmla="*/ 1372403 w 12207875"/>
              <a:gd name="connsiteY462" fmla="*/ 322510 h 6858000"/>
              <a:gd name="connsiteX463" fmla="*/ 1370768 w 12207875"/>
              <a:gd name="connsiteY463" fmla="*/ 315044 h 6858000"/>
              <a:gd name="connsiteX464" fmla="*/ 1404749 w 12207875"/>
              <a:gd name="connsiteY464" fmla="*/ 315044 h 6858000"/>
              <a:gd name="connsiteX465" fmla="*/ 1404749 w 12207875"/>
              <a:gd name="connsiteY465" fmla="*/ 311765 h 6858000"/>
              <a:gd name="connsiteX466" fmla="*/ 1403003 w 12207875"/>
              <a:gd name="connsiteY466" fmla="*/ 300745 h 6858000"/>
              <a:gd name="connsiteX467" fmla="*/ 1398235 w 12207875"/>
              <a:gd name="connsiteY467" fmla="*/ 293362 h 6858000"/>
              <a:gd name="connsiteX468" fmla="*/ 1391417 w 12207875"/>
              <a:gd name="connsiteY468" fmla="*/ 289174 h 6858000"/>
              <a:gd name="connsiteX469" fmla="*/ 1383545 w 12207875"/>
              <a:gd name="connsiteY469" fmla="*/ 287852 h 6858000"/>
              <a:gd name="connsiteX470" fmla="*/ 1592728 w 12207875"/>
              <a:gd name="connsiteY470" fmla="*/ 287797 h 6858000"/>
              <a:gd name="connsiteX471" fmla="*/ 1582390 w 12207875"/>
              <a:gd name="connsiteY471" fmla="*/ 290690 h 6858000"/>
              <a:gd name="connsiteX472" fmla="*/ 1575239 w 12207875"/>
              <a:gd name="connsiteY472" fmla="*/ 299010 h 6858000"/>
              <a:gd name="connsiteX473" fmla="*/ 1572633 w 12207875"/>
              <a:gd name="connsiteY473" fmla="*/ 312041 h 6858000"/>
              <a:gd name="connsiteX474" fmla="*/ 1575266 w 12207875"/>
              <a:gd name="connsiteY474" fmla="*/ 324824 h 6858000"/>
              <a:gd name="connsiteX475" fmla="*/ 1582445 w 12207875"/>
              <a:gd name="connsiteY475" fmla="*/ 332676 h 6858000"/>
              <a:gd name="connsiteX476" fmla="*/ 1592645 w 12207875"/>
              <a:gd name="connsiteY476" fmla="*/ 335321 h 6858000"/>
              <a:gd name="connsiteX477" fmla="*/ 1599796 w 12207875"/>
              <a:gd name="connsiteY477" fmla="*/ 333943 h 6858000"/>
              <a:gd name="connsiteX478" fmla="*/ 1604120 w 12207875"/>
              <a:gd name="connsiteY478" fmla="*/ 330720 h 6858000"/>
              <a:gd name="connsiteX479" fmla="*/ 1606532 w 12207875"/>
              <a:gd name="connsiteY479" fmla="*/ 327331 h 6858000"/>
              <a:gd name="connsiteX480" fmla="*/ 1607114 w 12207875"/>
              <a:gd name="connsiteY480" fmla="*/ 327331 h 6858000"/>
              <a:gd name="connsiteX481" fmla="*/ 1607114 w 12207875"/>
              <a:gd name="connsiteY481" fmla="*/ 336698 h 6858000"/>
              <a:gd name="connsiteX482" fmla="*/ 1603649 w 12207875"/>
              <a:gd name="connsiteY482" fmla="*/ 344770 h 6858000"/>
              <a:gd name="connsiteX483" fmla="*/ 1594890 w 12207875"/>
              <a:gd name="connsiteY483" fmla="*/ 347305 h 6858000"/>
              <a:gd name="connsiteX484" fmla="*/ 1588571 w 12207875"/>
              <a:gd name="connsiteY484" fmla="*/ 346231 h 6858000"/>
              <a:gd name="connsiteX485" fmla="*/ 1584718 w 12207875"/>
              <a:gd name="connsiteY485" fmla="*/ 343613 h 6858000"/>
              <a:gd name="connsiteX486" fmla="*/ 1582445 w 12207875"/>
              <a:gd name="connsiteY486" fmla="*/ 340803 h 6858000"/>
              <a:gd name="connsiteX487" fmla="*/ 1574435 w 12207875"/>
              <a:gd name="connsiteY487" fmla="*/ 344082 h 6858000"/>
              <a:gd name="connsiteX488" fmla="*/ 1578287 w 12207875"/>
              <a:gd name="connsiteY488" fmla="*/ 349371 h 6858000"/>
              <a:gd name="connsiteX489" fmla="*/ 1584967 w 12207875"/>
              <a:gd name="connsiteY489" fmla="*/ 353283 h 6858000"/>
              <a:gd name="connsiteX490" fmla="*/ 1594779 w 12207875"/>
              <a:gd name="connsiteY490" fmla="*/ 354771 h 6858000"/>
              <a:gd name="connsiteX491" fmla="*/ 1605756 w 12207875"/>
              <a:gd name="connsiteY491" fmla="*/ 352870 h 6858000"/>
              <a:gd name="connsiteX492" fmla="*/ 1613517 w 12207875"/>
              <a:gd name="connsiteY492" fmla="*/ 347057 h 6858000"/>
              <a:gd name="connsiteX493" fmla="*/ 1616399 w 12207875"/>
              <a:gd name="connsiteY493" fmla="*/ 337056 h 6858000"/>
              <a:gd name="connsiteX494" fmla="*/ 1616399 w 12207875"/>
              <a:gd name="connsiteY494" fmla="*/ 288403 h 6858000"/>
              <a:gd name="connsiteX495" fmla="*/ 1607308 w 12207875"/>
              <a:gd name="connsiteY495" fmla="*/ 288403 h 6858000"/>
              <a:gd name="connsiteX496" fmla="*/ 1607308 w 12207875"/>
              <a:gd name="connsiteY496" fmla="*/ 296117 h 6858000"/>
              <a:gd name="connsiteX497" fmla="*/ 1606615 w 12207875"/>
              <a:gd name="connsiteY497" fmla="*/ 296117 h 6858000"/>
              <a:gd name="connsiteX498" fmla="*/ 1604231 w 12207875"/>
              <a:gd name="connsiteY498" fmla="*/ 292673 h 6858000"/>
              <a:gd name="connsiteX499" fmla="*/ 1599935 w 12207875"/>
              <a:gd name="connsiteY499" fmla="*/ 289257 h 6858000"/>
              <a:gd name="connsiteX500" fmla="*/ 1592728 w 12207875"/>
              <a:gd name="connsiteY500" fmla="*/ 287797 h 6858000"/>
              <a:gd name="connsiteX501" fmla="*/ 1252996 w 12207875"/>
              <a:gd name="connsiteY501" fmla="*/ 287797 h 6858000"/>
              <a:gd name="connsiteX502" fmla="*/ 1242658 w 12207875"/>
              <a:gd name="connsiteY502" fmla="*/ 290690 h 6858000"/>
              <a:gd name="connsiteX503" fmla="*/ 1235506 w 12207875"/>
              <a:gd name="connsiteY503" fmla="*/ 299010 h 6858000"/>
              <a:gd name="connsiteX504" fmla="*/ 1232901 w 12207875"/>
              <a:gd name="connsiteY504" fmla="*/ 312041 h 6858000"/>
              <a:gd name="connsiteX505" fmla="*/ 1235534 w 12207875"/>
              <a:gd name="connsiteY505" fmla="*/ 324824 h 6858000"/>
              <a:gd name="connsiteX506" fmla="*/ 1242713 w 12207875"/>
              <a:gd name="connsiteY506" fmla="*/ 332676 h 6858000"/>
              <a:gd name="connsiteX507" fmla="*/ 1252913 w 12207875"/>
              <a:gd name="connsiteY507" fmla="*/ 335321 h 6858000"/>
              <a:gd name="connsiteX508" fmla="*/ 1260064 w 12207875"/>
              <a:gd name="connsiteY508" fmla="*/ 333943 h 6858000"/>
              <a:gd name="connsiteX509" fmla="*/ 1264388 w 12207875"/>
              <a:gd name="connsiteY509" fmla="*/ 330720 h 6858000"/>
              <a:gd name="connsiteX510" fmla="*/ 1266799 w 12207875"/>
              <a:gd name="connsiteY510" fmla="*/ 327331 h 6858000"/>
              <a:gd name="connsiteX511" fmla="*/ 1267381 w 12207875"/>
              <a:gd name="connsiteY511" fmla="*/ 327331 h 6858000"/>
              <a:gd name="connsiteX512" fmla="*/ 1267381 w 12207875"/>
              <a:gd name="connsiteY512" fmla="*/ 336698 h 6858000"/>
              <a:gd name="connsiteX513" fmla="*/ 1263917 w 12207875"/>
              <a:gd name="connsiteY513" fmla="*/ 344770 h 6858000"/>
              <a:gd name="connsiteX514" fmla="*/ 1255158 w 12207875"/>
              <a:gd name="connsiteY514" fmla="*/ 347305 h 6858000"/>
              <a:gd name="connsiteX515" fmla="*/ 1248839 w 12207875"/>
              <a:gd name="connsiteY515" fmla="*/ 346231 h 6858000"/>
              <a:gd name="connsiteX516" fmla="*/ 1244986 w 12207875"/>
              <a:gd name="connsiteY516" fmla="*/ 343613 h 6858000"/>
              <a:gd name="connsiteX517" fmla="*/ 1242713 w 12207875"/>
              <a:gd name="connsiteY517" fmla="*/ 340803 h 6858000"/>
              <a:gd name="connsiteX518" fmla="*/ 1234703 w 12207875"/>
              <a:gd name="connsiteY518" fmla="*/ 344082 h 6858000"/>
              <a:gd name="connsiteX519" fmla="*/ 1238555 w 12207875"/>
              <a:gd name="connsiteY519" fmla="*/ 349371 h 6858000"/>
              <a:gd name="connsiteX520" fmla="*/ 1245235 w 12207875"/>
              <a:gd name="connsiteY520" fmla="*/ 353283 h 6858000"/>
              <a:gd name="connsiteX521" fmla="*/ 1255047 w 12207875"/>
              <a:gd name="connsiteY521" fmla="*/ 354771 h 6858000"/>
              <a:gd name="connsiteX522" fmla="*/ 1266079 w 12207875"/>
              <a:gd name="connsiteY522" fmla="*/ 352898 h 6858000"/>
              <a:gd name="connsiteX523" fmla="*/ 1273840 w 12207875"/>
              <a:gd name="connsiteY523" fmla="*/ 347085 h 6858000"/>
              <a:gd name="connsiteX524" fmla="*/ 1276722 w 12207875"/>
              <a:gd name="connsiteY524" fmla="*/ 337084 h 6858000"/>
              <a:gd name="connsiteX525" fmla="*/ 1276722 w 12207875"/>
              <a:gd name="connsiteY525" fmla="*/ 288403 h 6858000"/>
              <a:gd name="connsiteX526" fmla="*/ 1267576 w 12207875"/>
              <a:gd name="connsiteY526" fmla="*/ 288403 h 6858000"/>
              <a:gd name="connsiteX527" fmla="*/ 1267576 w 12207875"/>
              <a:gd name="connsiteY527" fmla="*/ 296117 h 6858000"/>
              <a:gd name="connsiteX528" fmla="*/ 1266882 w 12207875"/>
              <a:gd name="connsiteY528" fmla="*/ 296117 h 6858000"/>
              <a:gd name="connsiteX529" fmla="*/ 1264499 w 12207875"/>
              <a:gd name="connsiteY529" fmla="*/ 292673 h 6858000"/>
              <a:gd name="connsiteX530" fmla="*/ 1260203 w 12207875"/>
              <a:gd name="connsiteY530" fmla="*/ 289257 h 6858000"/>
              <a:gd name="connsiteX531" fmla="*/ 1252996 w 12207875"/>
              <a:gd name="connsiteY531" fmla="*/ 287797 h 6858000"/>
              <a:gd name="connsiteX532" fmla="*/ 1545997 w 12207875"/>
              <a:gd name="connsiteY532" fmla="*/ 287769 h 6858000"/>
              <a:gd name="connsiteX533" fmla="*/ 1537072 w 12207875"/>
              <a:gd name="connsiteY533" fmla="*/ 290056 h 6858000"/>
              <a:gd name="connsiteX534" fmla="*/ 1531889 w 12207875"/>
              <a:gd name="connsiteY534" fmla="*/ 296144 h 6858000"/>
              <a:gd name="connsiteX535" fmla="*/ 1531307 w 12207875"/>
              <a:gd name="connsiteY535" fmla="*/ 296144 h 6858000"/>
              <a:gd name="connsiteX536" fmla="*/ 1531307 w 12207875"/>
              <a:gd name="connsiteY536" fmla="*/ 288403 h 6858000"/>
              <a:gd name="connsiteX537" fmla="*/ 1522354 w 12207875"/>
              <a:gd name="connsiteY537" fmla="*/ 288403 h 6858000"/>
              <a:gd name="connsiteX538" fmla="*/ 1522354 w 12207875"/>
              <a:gd name="connsiteY538" fmla="*/ 336009 h 6858000"/>
              <a:gd name="connsiteX539" fmla="*/ 1531695 w 12207875"/>
              <a:gd name="connsiteY539" fmla="*/ 336009 h 6858000"/>
              <a:gd name="connsiteX540" fmla="*/ 1531695 w 12207875"/>
              <a:gd name="connsiteY540" fmla="*/ 307743 h 6858000"/>
              <a:gd name="connsiteX541" fmla="*/ 1533136 w 12207875"/>
              <a:gd name="connsiteY541" fmla="*/ 301268 h 6858000"/>
              <a:gd name="connsiteX542" fmla="*/ 1537100 w 12207875"/>
              <a:gd name="connsiteY542" fmla="*/ 297191 h 6858000"/>
              <a:gd name="connsiteX543" fmla="*/ 1542865 w 12207875"/>
              <a:gd name="connsiteY543" fmla="*/ 295786 h 6858000"/>
              <a:gd name="connsiteX544" fmla="*/ 1550321 w 12207875"/>
              <a:gd name="connsiteY544" fmla="*/ 298706 h 6858000"/>
              <a:gd name="connsiteX545" fmla="*/ 1553037 w 12207875"/>
              <a:gd name="connsiteY545" fmla="*/ 306806 h 6858000"/>
              <a:gd name="connsiteX546" fmla="*/ 1553037 w 12207875"/>
              <a:gd name="connsiteY546" fmla="*/ 335981 h 6858000"/>
              <a:gd name="connsiteX547" fmla="*/ 1562295 w 12207875"/>
              <a:gd name="connsiteY547" fmla="*/ 335981 h 6858000"/>
              <a:gd name="connsiteX548" fmla="*/ 1562295 w 12207875"/>
              <a:gd name="connsiteY548" fmla="*/ 305731 h 6858000"/>
              <a:gd name="connsiteX549" fmla="*/ 1560272 w 12207875"/>
              <a:gd name="connsiteY549" fmla="*/ 295841 h 6858000"/>
              <a:gd name="connsiteX550" fmla="*/ 1554562 w 12207875"/>
              <a:gd name="connsiteY550" fmla="*/ 289808 h 6858000"/>
              <a:gd name="connsiteX551" fmla="*/ 1545997 w 12207875"/>
              <a:gd name="connsiteY551" fmla="*/ 287769 h 6858000"/>
              <a:gd name="connsiteX552" fmla="*/ 1334790 w 12207875"/>
              <a:gd name="connsiteY552" fmla="*/ 287769 h 6858000"/>
              <a:gd name="connsiteX553" fmla="*/ 1325865 w 12207875"/>
              <a:gd name="connsiteY553" fmla="*/ 290056 h 6858000"/>
              <a:gd name="connsiteX554" fmla="*/ 1320682 w 12207875"/>
              <a:gd name="connsiteY554" fmla="*/ 296144 h 6858000"/>
              <a:gd name="connsiteX555" fmla="*/ 1320100 w 12207875"/>
              <a:gd name="connsiteY555" fmla="*/ 296144 h 6858000"/>
              <a:gd name="connsiteX556" fmla="*/ 1320100 w 12207875"/>
              <a:gd name="connsiteY556" fmla="*/ 288403 h 6858000"/>
              <a:gd name="connsiteX557" fmla="*/ 1311147 w 12207875"/>
              <a:gd name="connsiteY557" fmla="*/ 288403 h 6858000"/>
              <a:gd name="connsiteX558" fmla="*/ 1311147 w 12207875"/>
              <a:gd name="connsiteY558" fmla="*/ 336009 h 6858000"/>
              <a:gd name="connsiteX559" fmla="*/ 1320488 w 12207875"/>
              <a:gd name="connsiteY559" fmla="*/ 336009 h 6858000"/>
              <a:gd name="connsiteX560" fmla="*/ 1320488 w 12207875"/>
              <a:gd name="connsiteY560" fmla="*/ 307743 h 6858000"/>
              <a:gd name="connsiteX561" fmla="*/ 1320405 w 12207875"/>
              <a:gd name="connsiteY561" fmla="*/ 307743 h 6858000"/>
              <a:gd name="connsiteX562" fmla="*/ 1321846 w 12207875"/>
              <a:gd name="connsiteY562" fmla="*/ 301269 h 6858000"/>
              <a:gd name="connsiteX563" fmla="*/ 1325810 w 12207875"/>
              <a:gd name="connsiteY563" fmla="*/ 297191 h 6858000"/>
              <a:gd name="connsiteX564" fmla="*/ 1331575 w 12207875"/>
              <a:gd name="connsiteY564" fmla="*/ 295786 h 6858000"/>
              <a:gd name="connsiteX565" fmla="*/ 1339031 w 12207875"/>
              <a:gd name="connsiteY565" fmla="*/ 298706 h 6858000"/>
              <a:gd name="connsiteX566" fmla="*/ 1341747 w 12207875"/>
              <a:gd name="connsiteY566" fmla="*/ 306806 h 6858000"/>
              <a:gd name="connsiteX567" fmla="*/ 1341747 w 12207875"/>
              <a:gd name="connsiteY567" fmla="*/ 335982 h 6858000"/>
              <a:gd name="connsiteX568" fmla="*/ 1351088 w 12207875"/>
              <a:gd name="connsiteY568" fmla="*/ 335982 h 6858000"/>
              <a:gd name="connsiteX569" fmla="*/ 1351088 w 12207875"/>
              <a:gd name="connsiteY569" fmla="*/ 305732 h 6858000"/>
              <a:gd name="connsiteX570" fmla="*/ 1349065 w 12207875"/>
              <a:gd name="connsiteY570" fmla="*/ 295841 h 6858000"/>
              <a:gd name="connsiteX571" fmla="*/ 1343355 w 12207875"/>
              <a:gd name="connsiteY571" fmla="*/ 289808 h 6858000"/>
              <a:gd name="connsiteX572" fmla="*/ 1334790 w 12207875"/>
              <a:gd name="connsiteY572" fmla="*/ 287769 h 6858000"/>
              <a:gd name="connsiteX573" fmla="*/ 1206265 w 12207875"/>
              <a:gd name="connsiteY573" fmla="*/ 287769 h 6858000"/>
              <a:gd name="connsiteX574" fmla="*/ 1197340 w 12207875"/>
              <a:gd name="connsiteY574" fmla="*/ 290056 h 6858000"/>
              <a:gd name="connsiteX575" fmla="*/ 1192157 w 12207875"/>
              <a:gd name="connsiteY575" fmla="*/ 296144 h 6858000"/>
              <a:gd name="connsiteX576" fmla="*/ 1191575 w 12207875"/>
              <a:gd name="connsiteY576" fmla="*/ 296144 h 6858000"/>
              <a:gd name="connsiteX577" fmla="*/ 1191575 w 12207875"/>
              <a:gd name="connsiteY577" fmla="*/ 288403 h 6858000"/>
              <a:gd name="connsiteX578" fmla="*/ 1182622 w 12207875"/>
              <a:gd name="connsiteY578" fmla="*/ 288403 h 6858000"/>
              <a:gd name="connsiteX579" fmla="*/ 1182622 w 12207875"/>
              <a:gd name="connsiteY579" fmla="*/ 336009 h 6858000"/>
              <a:gd name="connsiteX580" fmla="*/ 1191963 w 12207875"/>
              <a:gd name="connsiteY580" fmla="*/ 336009 h 6858000"/>
              <a:gd name="connsiteX581" fmla="*/ 1191963 w 12207875"/>
              <a:gd name="connsiteY581" fmla="*/ 307743 h 6858000"/>
              <a:gd name="connsiteX582" fmla="*/ 1191880 w 12207875"/>
              <a:gd name="connsiteY582" fmla="*/ 307743 h 6858000"/>
              <a:gd name="connsiteX583" fmla="*/ 1193321 w 12207875"/>
              <a:gd name="connsiteY583" fmla="*/ 301269 h 6858000"/>
              <a:gd name="connsiteX584" fmla="*/ 1197285 w 12207875"/>
              <a:gd name="connsiteY584" fmla="*/ 297191 h 6858000"/>
              <a:gd name="connsiteX585" fmla="*/ 1203050 w 12207875"/>
              <a:gd name="connsiteY585" fmla="*/ 295786 h 6858000"/>
              <a:gd name="connsiteX586" fmla="*/ 1210506 w 12207875"/>
              <a:gd name="connsiteY586" fmla="*/ 298706 h 6858000"/>
              <a:gd name="connsiteX587" fmla="*/ 1213222 w 12207875"/>
              <a:gd name="connsiteY587" fmla="*/ 306806 h 6858000"/>
              <a:gd name="connsiteX588" fmla="*/ 1213222 w 12207875"/>
              <a:gd name="connsiteY588" fmla="*/ 335982 h 6858000"/>
              <a:gd name="connsiteX589" fmla="*/ 1222563 w 12207875"/>
              <a:gd name="connsiteY589" fmla="*/ 335982 h 6858000"/>
              <a:gd name="connsiteX590" fmla="*/ 1222563 w 12207875"/>
              <a:gd name="connsiteY590" fmla="*/ 305732 h 6858000"/>
              <a:gd name="connsiteX591" fmla="*/ 1220540 w 12207875"/>
              <a:gd name="connsiteY591" fmla="*/ 295841 h 6858000"/>
              <a:gd name="connsiteX592" fmla="*/ 1214830 w 12207875"/>
              <a:gd name="connsiteY592" fmla="*/ 289808 h 6858000"/>
              <a:gd name="connsiteX593" fmla="*/ 1206265 w 12207875"/>
              <a:gd name="connsiteY593" fmla="*/ 287769 h 6858000"/>
              <a:gd name="connsiteX594" fmla="*/ 1488372 w 12207875"/>
              <a:gd name="connsiteY594" fmla="*/ 287687 h 6858000"/>
              <a:gd name="connsiteX595" fmla="*/ 1480833 w 12207875"/>
              <a:gd name="connsiteY595" fmla="*/ 289891 h 6858000"/>
              <a:gd name="connsiteX596" fmla="*/ 1476204 w 12207875"/>
              <a:gd name="connsiteY596" fmla="*/ 295952 h 6858000"/>
              <a:gd name="connsiteX597" fmla="*/ 1475705 w 12207875"/>
              <a:gd name="connsiteY597" fmla="*/ 295952 h 6858000"/>
              <a:gd name="connsiteX598" fmla="*/ 1475705 w 12207875"/>
              <a:gd name="connsiteY598" fmla="*/ 288403 h 6858000"/>
              <a:gd name="connsiteX599" fmla="*/ 1466697 w 12207875"/>
              <a:gd name="connsiteY599" fmla="*/ 288403 h 6858000"/>
              <a:gd name="connsiteX600" fmla="*/ 1466697 w 12207875"/>
              <a:gd name="connsiteY600" fmla="*/ 336009 h 6858000"/>
              <a:gd name="connsiteX601" fmla="*/ 1476038 w 12207875"/>
              <a:gd name="connsiteY601" fmla="*/ 336009 h 6858000"/>
              <a:gd name="connsiteX602" fmla="*/ 1476038 w 12207875"/>
              <a:gd name="connsiteY602" fmla="*/ 306944 h 6858000"/>
              <a:gd name="connsiteX603" fmla="*/ 1477534 w 12207875"/>
              <a:gd name="connsiteY603" fmla="*/ 301407 h 6858000"/>
              <a:gd name="connsiteX604" fmla="*/ 1481609 w 12207875"/>
              <a:gd name="connsiteY604" fmla="*/ 297605 h 6858000"/>
              <a:gd name="connsiteX605" fmla="*/ 1487485 w 12207875"/>
              <a:gd name="connsiteY605" fmla="*/ 296227 h 6858000"/>
              <a:gd name="connsiteX606" fmla="*/ 1490340 w 12207875"/>
              <a:gd name="connsiteY606" fmla="*/ 296420 h 6858000"/>
              <a:gd name="connsiteX607" fmla="*/ 1492335 w 12207875"/>
              <a:gd name="connsiteY607" fmla="*/ 296778 h 6858000"/>
              <a:gd name="connsiteX608" fmla="*/ 1492335 w 12207875"/>
              <a:gd name="connsiteY608" fmla="*/ 287907 h 6858000"/>
              <a:gd name="connsiteX609" fmla="*/ 1490451 w 12207875"/>
              <a:gd name="connsiteY609" fmla="*/ 287742 h 6858000"/>
              <a:gd name="connsiteX610" fmla="*/ 1488372 w 12207875"/>
              <a:gd name="connsiteY610" fmla="*/ 287687 h 6858000"/>
              <a:gd name="connsiteX611" fmla="*/ 1130319 w 12207875"/>
              <a:gd name="connsiteY611" fmla="*/ 272535 h 6858000"/>
              <a:gd name="connsiteX612" fmla="*/ 1130319 w 12207875"/>
              <a:gd name="connsiteY612" fmla="*/ 336037 h 6858000"/>
              <a:gd name="connsiteX613" fmla="*/ 1170759 w 12207875"/>
              <a:gd name="connsiteY613" fmla="*/ 336037 h 6858000"/>
              <a:gd name="connsiteX614" fmla="*/ 1170759 w 12207875"/>
              <a:gd name="connsiteY614" fmla="*/ 327772 h 6858000"/>
              <a:gd name="connsiteX615" fmla="*/ 1139965 w 12207875"/>
              <a:gd name="connsiteY615" fmla="*/ 327772 h 6858000"/>
              <a:gd name="connsiteX616" fmla="*/ 1139965 w 12207875"/>
              <a:gd name="connsiteY616" fmla="*/ 308350 h 6858000"/>
              <a:gd name="connsiteX617" fmla="*/ 1168292 w 12207875"/>
              <a:gd name="connsiteY617" fmla="*/ 308350 h 6858000"/>
              <a:gd name="connsiteX618" fmla="*/ 1168292 w 12207875"/>
              <a:gd name="connsiteY618" fmla="*/ 300140 h 6858000"/>
              <a:gd name="connsiteX619" fmla="*/ 1139965 w 12207875"/>
              <a:gd name="connsiteY619" fmla="*/ 300140 h 6858000"/>
              <a:gd name="connsiteX620" fmla="*/ 1139965 w 12207875"/>
              <a:gd name="connsiteY620" fmla="*/ 280800 h 6858000"/>
              <a:gd name="connsiteX621" fmla="*/ 1170371 w 12207875"/>
              <a:gd name="connsiteY621" fmla="*/ 280800 h 6858000"/>
              <a:gd name="connsiteX622" fmla="*/ 1170371 w 12207875"/>
              <a:gd name="connsiteY622" fmla="*/ 272535 h 6858000"/>
              <a:gd name="connsiteX623" fmla="*/ 887431 w 12207875"/>
              <a:gd name="connsiteY623" fmla="*/ 272507 h 6858000"/>
              <a:gd name="connsiteX624" fmla="*/ 846964 w 12207875"/>
              <a:gd name="connsiteY624" fmla="*/ 352980 h 6858000"/>
              <a:gd name="connsiteX625" fmla="*/ 892005 w 12207875"/>
              <a:gd name="connsiteY625" fmla="*/ 352980 h 6858000"/>
              <a:gd name="connsiteX626" fmla="*/ 917948 w 12207875"/>
              <a:gd name="connsiteY626" fmla="*/ 301434 h 6858000"/>
              <a:gd name="connsiteX627" fmla="*/ 1024660 w 12207875"/>
              <a:gd name="connsiteY627" fmla="*/ 513871 h 6858000"/>
              <a:gd name="connsiteX628" fmla="*/ 1069673 w 12207875"/>
              <a:gd name="connsiteY628" fmla="*/ 513871 h 6858000"/>
              <a:gd name="connsiteX629" fmla="*/ 948133 w 12207875"/>
              <a:gd name="connsiteY629" fmla="*/ 272507 h 6858000"/>
              <a:gd name="connsiteX630" fmla="*/ 563637 w 12207875"/>
              <a:gd name="connsiteY630" fmla="*/ 272479 h 6858000"/>
              <a:gd name="connsiteX631" fmla="*/ 563637 w 12207875"/>
              <a:gd name="connsiteY631" fmla="*/ 352980 h 6858000"/>
              <a:gd name="connsiteX632" fmla="*/ 604132 w 12207875"/>
              <a:gd name="connsiteY632" fmla="*/ 352980 h 6858000"/>
              <a:gd name="connsiteX633" fmla="*/ 604132 w 12207875"/>
              <a:gd name="connsiteY633" fmla="*/ 312730 h 6858000"/>
              <a:gd name="connsiteX634" fmla="*/ 745796 w 12207875"/>
              <a:gd name="connsiteY634" fmla="*/ 312757 h 6858000"/>
              <a:gd name="connsiteX635" fmla="*/ 745796 w 12207875"/>
              <a:gd name="connsiteY635" fmla="*/ 272507 h 6858000"/>
              <a:gd name="connsiteX636" fmla="*/ 390736 w 12207875"/>
              <a:gd name="connsiteY636" fmla="*/ 272479 h 6858000"/>
              <a:gd name="connsiteX637" fmla="*/ 269999 w 12207875"/>
              <a:gd name="connsiteY637" fmla="*/ 393230 h 6858000"/>
              <a:gd name="connsiteX638" fmla="*/ 390736 w 12207875"/>
              <a:gd name="connsiteY638" fmla="*/ 513871 h 6858000"/>
              <a:gd name="connsiteX639" fmla="*/ 502964 w 12207875"/>
              <a:gd name="connsiteY639" fmla="*/ 513871 h 6858000"/>
              <a:gd name="connsiteX640" fmla="*/ 502964 w 12207875"/>
              <a:gd name="connsiteY640" fmla="*/ 413314 h 6858000"/>
              <a:gd name="connsiteX641" fmla="*/ 563665 w 12207875"/>
              <a:gd name="connsiteY641" fmla="*/ 413314 h 6858000"/>
              <a:gd name="connsiteX642" fmla="*/ 563665 w 12207875"/>
              <a:gd name="connsiteY642" fmla="*/ 513871 h 6858000"/>
              <a:gd name="connsiteX643" fmla="*/ 725562 w 12207875"/>
              <a:gd name="connsiteY643" fmla="*/ 513871 h 6858000"/>
              <a:gd name="connsiteX644" fmla="*/ 745795 w 12207875"/>
              <a:gd name="connsiteY644" fmla="*/ 473648 h 6858000"/>
              <a:gd name="connsiteX645" fmla="*/ 604132 w 12207875"/>
              <a:gd name="connsiteY645" fmla="*/ 473648 h 6858000"/>
              <a:gd name="connsiteX646" fmla="*/ 604132 w 12207875"/>
              <a:gd name="connsiteY646" fmla="*/ 413314 h 6858000"/>
              <a:gd name="connsiteX647" fmla="*/ 816364 w 12207875"/>
              <a:gd name="connsiteY647" fmla="*/ 413314 h 6858000"/>
              <a:gd name="connsiteX648" fmla="*/ 766029 w 12207875"/>
              <a:gd name="connsiteY648" fmla="*/ 513871 h 6858000"/>
              <a:gd name="connsiteX649" fmla="*/ 811042 w 12207875"/>
              <a:gd name="connsiteY649" fmla="*/ 513871 h 6858000"/>
              <a:gd name="connsiteX650" fmla="*/ 861626 w 12207875"/>
              <a:gd name="connsiteY650" fmla="*/ 413314 h 6858000"/>
              <a:gd name="connsiteX651" fmla="*/ 948132 w 12207875"/>
              <a:gd name="connsiteY651" fmla="*/ 413314 h 6858000"/>
              <a:gd name="connsiteX652" fmla="*/ 927898 w 12207875"/>
              <a:gd name="connsiteY652" fmla="*/ 373091 h 6858000"/>
              <a:gd name="connsiteX653" fmla="*/ 401768 w 12207875"/>
              <a:gd name="connsiteY653" fmla="*/ 373091 h 6858000"/>
              <a:gd name="connsiteX654" fmla="*/ 381534 w 12207875"/>
              <a:gd name="connsiteY654" fmla="*/ 413314 h 6858000"/>
              <a:gd name="connsiteX655" fmla="*/ 462469 w 12207875"/>
              <a:gd name="connsiteY655" fmla="*/ 413314 h 6858000"/>
              <a:gd name="connsiteX656" fmla="*/ 462469 w 12207875"/>
              <a:gd name="connsiteY656" fmla="*/ 473648 h 6858000"/>
              <a:gd name="connsiteX657" fmla="*/ 390736 w 12207875"/>
              <a:gd name="connsiteY657" fmla="*/ 473648 h 6858000"/>
              <a:gd name="connsiteX658" fmla="*/ 310273 w 12207875"/>
              <a:gd name="connsiteY658" fmla="*/ 393230 h 6858000"/>
              <a:gd name="connsiteX659" fmla="*/ 390736 w 12207875"/>
              <a:gd name="connsiteY659" fmla="*/ 312729 h 6858000"/>
              <a:gd name="connsiteX660" fmla="*/ 482647 w 12207875"/>
              <a:gd name="connsiteY660" fmla="*/ 312729 h 6858000"/>
              <a:gd name="connsiteX661" fmla="*/ 482647 w 12207875"/>
              <a:gd name="connsiteY661" fmla="*/ 272479 h 6858000"/>
              <a:gd name="connsiteX662" fmla="*/ 1505141 w 12207875"/>
              <a:gd name="connsiteY662" fmla="*/ 270000 h 6858000"/>
              <a:gd name="connsiteX663" fmla="*/ 1500983 w 12207875"/>
              <a:gd name="connsiteY663" fmla="*/ 271625 h 6858000"/>
              <a:gd name="connsiteX664" fmla="*/ 1499265 w 12207875"/>
              <a:gd name="connsiteY664" fmla="*/ 275538 h 6858000"/>
              <a:gd name="connsiteX665" fmla="*/ 1500983 w 12207875"/>
              <a:gd name="connsiteY665" fmla="*/ 279422 h 6858000"/>
              <a:gd name="connsiteX666" fmla="*/ 1505141 w 12207875"/>
              <a:gd name="connsiteY666" fmla="*/ 281075 h 6858000"/>
              <a:gd name="connsiteX667" fmla="*/ 1509299 w 12207875"/>
              <a:gd name="connsiteY667" fmla="*/ 279450 h 6858000"/>
              <a:gd name="connsiteX668" fmla="*/ 1511017 w 12207875"/>
              <a:gd name="connsiteY668" fmla="*/ 275565 h 6858000"/>
              <a:gd name="connsiteX669" fmla="*/ 1509299 w 12207875"/>
              <a:gd name="connsiteY669" fmla="*/ 271653 h 6858000"/>
              <a:gd name="connsiteX670" fmla="*/ 1505141 w 12207875"/>
              <a:gd name="connsiteY670" fmla="*/ 270000 h 6858000"/>
              <a:gd name="connsiteX671" fmla="*/ 1293907 w 12207875"/>
              <a:gd name="connsiteY671" fmla="*/ 270000 h 6858000"/>
              <a:gd name="connsiteX672" fmla="*/ 1289749 w 12207875"/>
              <a:gd name="connsiteY672" fmla="*/ 271625 h 6858000"/>
              <a:gd name="connsiteX673" fmla="*/ 1288031 w 12207875"/>
              <a:gd name="connsiteY673" fmla="*/ 275538 h 6858000"/>
              <a:gd name="connsiteX674" fmla="*/ 1289749 w 12207875"/>
              <a:gd name="connsiteY674" fmla="*/ 279422 h 6858000"/>
              <a:gd name="connsiteX675" fmla="*/ 1293907 w 12207875"/>
              <a:gd name="connsiteY675" fmla="*/ 281075 h 6858000"/>
              <a:gd name="connsiteX676" fmla="*/ 1298065 w 12207875"/>
              <a:gd name="connsiteY676" fmla="*/ 279450 h 6858000"/>
              <a:gd name="connsiteX677" fmla="*/ 1299783 w 12207875"/>
              <a:gd name="connsiteY677" fmla="*/ 275565 h 6858000"/>
              <a:gd name="connsiteX678" fmla="*/ 1298065 w 12207875"/>
              <a:gd name="connsiteY678" fmla="*/ 271653 h 6858000"/>
              <a:gd name="connsiteX679" fmla="*/ 1293907 w 12207875"/>
              <a:gd name="connsiteY679" fmla="*/ 270000 h 6858000"/>
              <a:gd name="connsiteX680" fmla="*/ 0 w 12207875"/>
              <a:gd name="connsiteY680" fmla="*/ 0 h 6858000"/>
              <a:gd name="connsiteX681" fmla="*/ 12207875 w 12207875"/>
              <a:gd name="connsiteY681" fmla="*/ 0 h 6858000"/>
              <a:gd name="connsiteX682" fmla="*/ 12207875 w 12207875"/>
              <a:gd name="connsiteY682" fmla="*/ 6858000 h 6858000"/>
              <a:gd name="connsiteX683" fmla="*/ 0 w 12207875"/>
              <a:gd name="connsiteY68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</a:cxnLst>
            <a:rect l="l" t="t" r="r" b="b"/>
            <a:pathLst>
              <a:path w="12207875" h="6858000">
                <a:moveTo>
                  <a:pt x="1370601" y="502108"/>
                </a:moveTo>
                <a:cubicBezTo>
                  <a:pt x="1368910" y="502108"/>
                  <a:pt x="1367441" y="502714"/>
                  <a:pt x="1366222" y="503926"/>
                </a:cubicBezTo>
                <a:cubicBezTo>
                  <a:pt x="1365002" y="505139"/>
                  <a:pt x="1364392" y="506599"/>
                  <a:pt x="1364392" y="508279"/>
                </a:cubicBezTo>
                <a:cubicBezTo>
                  <a:pt x="1364392" y="509987"/>
                  <a:pt x="1365002" y="511448"/>
                  <a:pt x="1366222" y="512660"/>
                </a:cubicBezTo>
                <a:cubicBezTo>
                  <a:pt x="1367441" y="513872"/>
                  <a:pt x="1368910" y="514478"/>
                  <a:pt x="1370601" y="514478"/>
                </a:cubicBezTo>
                <a:cubicBezTo>
                  <a:pt x="1371737" y="514478"/>
                  <a:pt x="1372791" y="514203"/>
                  <a:pt x="1373733" y="513652"/>
                </a:cubicBezTo>
                <a:cubicBezTo>
                  <a:pt x="1374675" y="513101"/>
                  <a:pt x="1375424" y="512357"/>
                  <a:pt x="1376006" y="511393"/>
                </a:cubicBezTo>
                <a:cubicBezTo>
                  <a:pt x="1376588" y="510456"/>
                  <a:pt x="1376865" y="509409"/>
                  <a:pt x="1376865" y="508279"/>
                </a:cubicBezTo>
                <a:cubicBezTo>
                  <a:pt x="1376865" y="506571"/>
                  <a:pt x="1376255" y="505139"/>
                  <a:pt x="1375036" y="503926"/>
                </a:cubicBezTo>
                <a:cubicBezTo>
                  <a:pt x="1373761" y="502714"/>
                  <a:pt x="1372292" y="502108"/>
                  <a:pt x="1370601" y="502108"/>
                </a:cubicBezTo>
                <a:close/>
                <a:moveTo>
                  <a:pt x="1329413" y="473511"/>
                </a:moveTo>
                <a:cubicBezTo>
                  <a:pt x="1332129" y="473511"/>
                  <a:pt x="1334429" y="474200"/>
                  <a:pt x="1336287" y="475577"/>
                </a:cubicBezTo>
                <a:cubicBezTo>
                  <a:pt x="1338144" y="476955"/>
                  <a:pt x="1339529" y="478883"/>
                  <a:pt x="1340499" y="481363"/>
                </a:cubicBezTo>
                <a:cubicBezTo>
                  <a:pt x="1341442" y="483842"/>
                  <a:pt x="1341941" y="486735"/>
                  <a:pt x="1341941" y="490041"/>
                </a:cubicBezTo>
                <a:cubicBezTo>
                  <a:pt x="1341913" y="493430"/>
                  <a:pt x="1341442" y="496350"/>
                  <a:pt x="1340472" y="498885"/>
                </a:cubicBezTo>
                <a:cubicBezTo>
                  <a:pt x="1339502" y="501392"/>
                  <a:pt x="1338088" y="503375"/>
                  <a:pt x="1336231" y="504780"/>
                </a:cubicBezTo>
                <a:cubicBezTo>
                  <a:pt x="1334374" y="506185"/>
                  <a:pt x="1332101" y="506901"/>
                  <a:pt x="1329413" y="506901"/>
                </a:cubicBezTo>
                <a:cubicBezTo>
                  <a:pt x="1326641" y="506901"/>
                  <a:pt x="1324313" y="506158"/>
                  <a:pt x="1322456" y="504697"/>
                </a:cubicBezTo>
                <a:cubicBezTo>
                  <a:pt x="1320571" y="503210"/>
                  <a:pt x="1319157" y="501199"/>
                  <a:pt x="1318215" y="498664"/>
                </a:cubicBezTo>
                <a:cubicBezTo>
                  <a:pt x="1317245" y="496130"/>
                  <a:pt x="1316774" y="493264"/>
                  <a:pt x="1316774" y="490069"/>
                </a:cubicBezTo>
                <a:cubicBezTo>
                  <a:pt x="1316774" y="486928"/>
                  <a:pt x="1317245" y="484118"/>
                  <a:pt x="1318187" y="481611"/>
                </a:cubicBezTo>
                <a:cubicBezTo>
                  <a:pt x="1319130" y="479104"/>
                  <a:pt x="1320543" y="477148"/>
                  <a:pt x="1322400" y="475688"/>
                </a:cubicBezTo>
                <a:cubicBezTo>
                  <a:pt x="1324257" y="474228"/>
                  <a:pt x="1326613" y="473511"/>
                  <a:pt x="1329413" y="473511"/>
                </a:cubicBezTo>
                <a:close/>
                <a:moveTo>
                  <a:pt x="1220844" y="473428"/>
                </a:moveTo>
                <a:cubicBezTo>
                  <a:pt x="1223754" y="473428"/>
                  <a:pt x="1226165" y="474200"/>
                  <a:pt x="1228078" y="475742"/>
                </a:cubicBezTo>
                <a:cubicBezTo>
                  <a:pt x="1229990" y="477285"/>
                  <a:pt x="1231404" y="479351"/>
                  <a:pt x="1232346" y="481886"/>
                </a:cubicBezTo>
                <a:cubicBezTo>
                  <a:pt x="1233261" y="484448"/>
                  <a:pt x="1233732" y="487231"/>
                  <a:pt x="1233732" y="490261"/>
                </a:cubicBezTo>
                <a:cubicBezTo>
                  <a:pt x="1233732" y="493319"/>
                  <a:pt x="1233261" y="496129"/>
                  <a:pt x="1232346" y="498664"/>
                </a:cubicBezTo>
                <a:cubicBezTo>
                  <a:pt x="1231404" y="501199"/>
                  <a:pt x="1229990" y="503237"/>
                  <a:pt x="1228078" y="504780"/>
                </a:cubicBezTo>
                <a:cubicBezTo>
                  <a:pt x="1226165" y="506323"/>
                  <a:pt x="1223754" y="507067"/>
                  <a:pt x="1220844" y="507067"/>
                </a:cubicBezTo>
                <a:cubicBezTo>
                  <a:pt x="1217905" y="507067"/>
                  <a:pt x="1215494" y="506295"/>
                  <a:pt x="1213554" y="504780"/>
                </a:cubicBezTo>
                <a:cubicBezTo>
                  <a:pt x="1211642" y="503265"/>
                  <a:pt x="1210200" y="501226"/>
                  <a:pt x="1209285" y="498664"/>
                </a:cubicBezTo>
                <a:cubicBezTo>
                  <a:pt x="1208343" y="496129"/>
                  <a:pt x="1207900" y="493319"/>
                  <a:pt x="1207900" y="490261"/>
                </a:cubicBezTo>
                <a:cubicBezTo>
                  <a:pt x="1207900" y="487231"/>
                  <a:pt x="1208371" y="484421"/>
                  <a:pt x="1209285" y="481886"/>
                </a:cubicBezTo>
                <a:cubicBezTo>
                  <a:pt x="1210200" y="479324"/>
                  <a:pt x="1211642" y="477285"/>
                  <a:pt x="1213554" y="475742"/>
                </a:cubicBezTo>
                <a:cubicBezTo>
                  <a:pt x="1215466" y="474200"/>
                  <a:pt x="1217905" y="473428"/>
                  <a:pt x="1220844" y="473428"/>
                </a:cubicBezTo>
                <a:close/>
                <a:moveTo>
                  <a:pt x="1125884" y="466265"/>
                </a:moveTo>
                <a:lnTo>
                  <a:pt x="1139964" y="513899"/>
                </a:lnTo>
                <a:lnTo>
                  <a:pt x="1149444" y="513899"/>
                </a:lnTo>
                <a:lnTo>
                  <a:pt x="1159172" y="479517"/>
                </a:lnTo>
                <a:lnTo>
                  <a:pt x="1159893" y="479517"/>
                </a:lnTo>
                <a:lnTo>
                  <a:pt x="1169622" y="513899"/>
                </a:lnTo>
                <a:lnTo>
                  <a:pt x="1179129" y="513899"/>
                </a:lnTo>
                <a:lnTo>
                  <a:pt x="1193209" y="466265"/>
                </a:lnTo>
                <a:lnTo>
                  <a:pt x="1183564" y="466265"/>
                </a:lnTo>
                <a:lnTo>
                  <a:pt x="1174251" y="501088"/>
                </a:lnTo>
                <a:lnTo>
                  <a:pt x="1173780" y="501088"/>
                </a:lnTo>
                <a:lnTo>
                  <a:pt x="1164411" y="466265"/>
                </a:lnTo>
                <a:lnTo>
                  <a:pt x="1154793" y="466265"/>
                </a:lnTo>
                <a:lnTo>
                  <a:pt x="1145369" y="501226"/>
                </a:lnTo>
                <a:lnTo>
                  <a:pt x="1144898" y="501226"/>
                </a:lnTo>
                <a:lnTo>
                  <a:pt x="1135502" y="466265"/>
                </a:lnTo>
                <a:close/>
                <a:moveTo>
                  <a:pt x="1220844" y="465659"/>
                </a:moveTo>
                <a:cubicBezTo>
                  <a:pt x="1216353" y="465659"/>
                  <a:pt x="1212445" y="466678"/>
                  <a:pt x="1209091" y="468717"/>
                </a:cubicBezTo>
                <a:cubicBezTo>
                  <a:pt x="1205738" y="470756"/>
                  <a:pt x="1203132" y="473649"/>
                  <a:pt x="1201303" y="477340"/>
                </a:cubicBezTo>
                <a:cubicBezTo>
                  <a:pt x="1199446" y="481032"/>
                  <a:pt x="1198531" y="485357"/>
                  <a:pt x="1198531" y="490289"/>
                </a:cubicBezTo>
                <a:cubicBezTo>
                  <a:pt x="1198531" y="495220"/>
                  <a:pt x="1199473" y="499518"/>
                  <a:pt x="1201303" y="503182"/>
                </a:cubicBezTo>
                <a:cubicBezTo>
                  <a:pt x="1203160" y="506874"/>
                  <a:pt x="1205738" y="509712"/>
                  <a:pt x="1209091" y="511778"/>
                </a:cubicBezTo>
                <a:cubicBezTo>
                  <a:pt x="1212445" y="513817"/>
                  <a:pt x="1216353" y="514836"/>
                  <a:pt x="1220844" y="514836"/>
                </a:cubicBezTo>
                <a:cubicBezTo>
                  <a:pt x="1225334" y="514836"/>
                  <a:pt x="1229242" y="513817"/>
                  <a:pt x="1232596" y="511778"/>
                </a:cubicBezTo>
                <a:cubicBezTo>
                  <a:pt x="1235950" y="509739"/>
                  <a:pt x="1238555" y="506874"/>
                  <a:pt x="1240384" y="503182"/>
                </a:cubicBezTo>
                <a:cubicBezTo>
                  <a:pt x="1242241" y="499518"/>
                  <a:pt x="1243156" y="495193"/>
                  <a:pt x="1243156" y="490289"/>
                </a:cubicBezTo>
                <a:cubicBezTo>
                  <a:pt x="1243156" y="485357"/>
                  <a:pt x="1242241" y="481032"/>
                  <a:pt x="1240384" y="477340"/>
                </a:cubicBezTo>
                <a:cubicBezTo>
                  <a:pt x="1238527" y="473649"/>
                  <a:pt x="1235922" y="470756"/>
                  <a:pt x="1232596" y="468717"/>
                </a:cubicBezTo>
                <a:cubicBezTo>
                  <a:pt x="1229242" y="466678"/>
                  <a:pt x="1225334" y="465659"/>
                  <a:pt x="1220844" y="465659"/>
                </a:cubicBezTo>
                <a:close/>
                <a:moveTo>
                  <a:pt x="1275309" y="465549"/>
                </a:moveTo>
                <a:cubicBezTo>
                  <a:pt x="1272509" y="465549"/>
                  <a:pt x="1269987" y="466293"/>
                  <a:pt x="1267770" y="467753"/>
                </a:cubicBezTo>
                <a:cubicBezTo>
                  <a:pt x="1265552" y="469241"/>
                  <a:pt x="1264000" y="471252"/>
                  <a:pt x="1263141" y="473814"/>
                </a:cubicBezTo>
                <a:lnTo>
                  <a:pt x="1262642" y="473814"/>
                </a:lnTo>
                <a:lnTo>
                  <a:pt x="1262642" y="466238"/>
                </a:lnTo>
                <a:lnTo>
                  <a:pt x="1253634" y="466238"/>
                </a:lnTo>
                <a:lnTo>
                  <a:pt x="1253634" y="513844"/>
                </a:lnTo>
                <a:lnTo>
                  <a:pt x="1262975" y="513844"/>
                </a:lnTo>
                <a:lnTo>
                  <a:pt x="1262975" y="484806"/>
                </a:lnTo>
                <a:cubicBezTo>
                  <a:pt x="1262975" y="482740"/>
                  <a:pt x="1263474" y="480894"/>
                  <a:pt x="1264471" y="479269"/>
                </a:cubicBezTo>
                <a:cubicBezTo>
                  <a:pt x="1265469" y="477643"/>
                  <a:pt x="1266827" y="476376"/>
                  <a:pt x="1268546" y="475467"/>
                </a:cubicBezTo>
                <a:cubicBezTo>
                  <a:pt x="1270264" y="474558"/>
                  <a:pt x="1272232" y="474090"/>
                  <a:pt x="1274422" y="474090"/>
                </a:cubicBezTo>
                <a:cubicBezTo>
                  <a:pt x="1275364" y="474090"/>
                  <a:pt x="1276334" y="474172"/>
                  <a:pt x="1277277" y="474282"/>
                </a:cubicBezTo>
                <a:cubicBezTo>
                  <a:pt x="1278247" y="474420"/>
                  <a:pt x="1278912" y="474530"/>
                  <a:pt x="1279272" y="474641"/>
                </a:cubicBezTo>
                <a:lnTo>
                  <a:pt x="1279272" y="465769"/>
                </a:lnTo>
                <a:cubicBezTo>
                  <a:pt x="1278801" y="465714"/>
                  <a:pt x="1278191" y="465659"/>
                  <a:pt x="1277388" y="465604"/>
                </a:cubicBezTo>
                <a:cubicBezTo>
                  <a:pt x="1276584" y="465577"/>
                  <a:pt x="1275891" y="465549"/>
                  <a:pt x="1275309" y="465549"/>
                </a:cubicBezTo>
                <a:close/>
                <a:moveTo>
                  <a:pt x="1341774" y="450397"/>
                </a:moveTo>
                <a:lnTo>
                  <a:pt x="1341774" y="473980"/>
                </a:lnTo>
                <a:lnTo>
                  <a:pt x="1341747" y="473980"/>
                </a:lnTo>
                <a:lnTo>
                  <a:pt x="1341192" y="473980"/>
                </a:lnTo>
                <a:cubicBezTo>
                  <a:pt x="1340638" y="472988"/>
                  <a:pt x="1339834" y="471831"/>
                  <a:pt x="1338836" y="470536"/>
                </a:cubicBezTo>
                <a:cubicBezTo>
                  <a:pt x="1337811" y="469241"/>
                  <a:pt x="1336397" y="468084"/>
                  <a:pt x="1334596" y="467120"/>
                </a:cubicBezTo>
                <a:cubicBezTo>
                  <a:pt x="1332766" y="466128"/>
                  <a:pt x="1330383" y="465660"/>
                  <a:pt x="1327417" y="465660"/>
                </a:cubicBezTo>
                <a:cubicBezTo>
                  <a:pt x="1323564" y="465660"/>
                  <a:pt x="1320127" y="466624"/>
                  <a:pt x="1317079" y="468580"/>
                </a:cubicBezTo>
                <a:cubicBezTo>
                  <a:pt x="1314030" y="470536"/>
                  <a:pt x="1311646" y="473318"/>
                  <a:pt x="1309927" y="476982"/>
                </a:cubicBezTo>
                <a:cubicBezTo>
                  <a:pt x="1308181" y="480647"/>
                  <a:pt x="1307322" y="485055"/>
                  <a:pt x="1307322" y="490179"/>
                </a:cubicBezTo>
                <a:cubicBezTo>
                  <a:pt x="1307322" y="495331"/>
                  <a:pt x="1308181" y="499739"/>
                  <a:pt x="1309900" y="503403"/>
                </a:cubicBezTo>
                <a:cubicBezTo>
                  <a:pt x="1311618" y="507067"/>
                  <a:pt x="1313974" y="509877"/>
                  <a:pt x="1317023" y="511860"/>
                </a:cubicBezTo>
                <a:cubicBezTo>
                  <a:pt x="1320044" y="513844"/>
                  <a:pt x="1323481" y="514808"/>
                  <a:pt x="1327362" y="514808"/>
                </a:cubicBezTo>
                <a:cubicBezTo>
                  <a:pt x="1330272" y="514808"/>
                  <a:pt x="1332628" y="514312"/>
                  <a:pt x="1334485" y="513348"/>
                </a:cubicBezTo>
                <a:cubicBezTo>
                  <a:pt x="1336314" y="512384"/>
                  <a:pt x="1337755" y="511227"/>
                  <a:pt x="1338809" y="509932"/>
                </a:cubicBezTo>
                <a:cubicBezTo>
                  <a:pt x="1339862" y="508637"/>
                  <a:pt x="1340666" y="507480"/>
                  <a:pt x="1341220" y="506461"/>
                </a:cubicBezTo>
                <a:lnTo>
                  <a:pt x="1341996" y="506461"/>
                </a:lnTo>
                <a:lnTo>
                  <a:pt x="1341996" y="513872"/>
                </a:lnTo>
                <a:lnTo>
                  <a:pt x="1351115" y="513872"/>
                </a:lnTo>
                <a:lnTo>
                  <a:pt x="1351115" y="450397"/>
                </a:lnTo>
                <a:close/>
                <a:moveTo>
                  <a:pt x="1287449" y="450397"/>
                </a:moveTo>
                <a:lnTo>
                  <a:pt x="1287449" y="513872"/>
                </a:lnTo>
                <a:lnTo>
                  <a:pt x="1296790" y="513872"/>
                </a:lnTo>
                <a:lnTo>
                  <a:pt x="1296790" y="450397"/>
                </a:lnTo>
                <a:close/>
                <a:moveTo>
                  <a:pt x="1297372" y="401633"/>
                </a:moveTo>
                <a:lnTo>
                  <a:pt x="1297372" y="407777"/>
                </a:lnTo>
                <a:lnTo>
                  <a:pt x="1297344" y="407777"/>
                </a:lnTo>
                <a:cubicBezTo>
                  <a:pt x="1297344" y="409650"/>
                  <a:pt x="1296845" y="411413"/>
                  <a:pt x="1295903" y="413066"/>
                </a:cubicBezTo>
                <a:cubicBezTo>
                  <a:pt x="1294932" y="414719"/>
                  <a:pt x="1293547" y="416042"/>
                  <a:pt x="1291689" y="417061"/>
                </a:cubicBezTo>
                <a:cubicBezTo>
                  <a:pt x="1289860" y="418080"/>
                  <a:pt x="1287643" y="418576"/>
                  <a:pt x="1285065" y="418576"/>
                </a:cubicBezTo>
                <a:cubicBezTo>
                  <a:pt x="1282432" y="418576"/>
                  <a:pt x="1280242" y="417998"/>
                  <a:pt x="1278552" y="416813"/>
                </a:cubicBezTo>
                <a:cubicBezTo>
                  <a:pt x="1276833" y="415656"/>
                  <a:pt x="1276002" y="413920"/>
                  <a:pt x="1276002" y="411634"/>
                </a:cubicBezTo>
                <a:cubicBezTo>
                  <a:pt x="1276002" y="409981"/>
                  <a:pt x="1276445" y="408658"/>
                  <a:pt x="1277332" y="407639"/>
                </a:cubicBezTo>
                <a:cubicBezTo>
                  <a:pt x="1278219" y="406647"/>
                  <a:pt x="1279411" y="405876"/>
                  <a:pt x="1280880" y="405325"/>
                </a:cubicBezTo>
                <a:cubicBezTo>
                  <a:pt x="1282377" y="404801"/>
                  <a:pt x="1284012" y="404416"/>
                  <a:pt x="1285814" y="404168"/>
                </a:cubicBezTo>
                <a:cubicBezTo>
                  <a:pt x="1286590" y="404057"/>
                  <a:pt x="1287532" y="403947"/>
                  <a:pt x="1288696" y="403782"/>
                </a:cubicBezTo>
                <a:cubicBezTo>
                  <a:pt x="1289832" y="403617"/>
                  <a:pt x="1291024" y="403451"/>
                  <a:pt x="1292216" y="403259"/>
                </a:cubicBezTo>
                <a:cubicBezTo>
                  <a:pt x="1293408" y="403066"/>
                  <a:pt x="1294489" y="402818"/>
                  <a:pt x="1295459" y="402542"/>
                </a:cubicBezTo>
                <a:cubicBezTo>
                  <a:pt x="1296402" y="402267"/>
                  <a:pt x="1297039" y="401964"/>
                  <a:pt x="1297372" y="401633"/>
                </a:cubicBezTo>
                <a:close/>
                <a:moveTo>
                  <a:pt x="1363312" y="384608"/>
                </a:moveTo>
                <a:cubicBezTo>
                  <a:pt x="1366111" y="384608"/>
                  <a:pt x="1368467" y="385324"/>
                  <a:pt x="1370352" y="386785"/>
                </a:cubicBezTo>
                <a:cubicBezTo>
                  <a:pt x="1372237" y="388245"/>
                  <a:pt x="1373650" y="390201"/>
                  <a:pt x="1374593" y="392708"/>
                </a:cubicBezTo>
                <a:cubicBezTo>
                  <a:pt x="1375535" y="395215"/>
                  <a:pt x="1376007" y="398025"/>
                  <a:pt x="1376007" y="401166"/>
                </a:cubicBezTo>
                <a:cubicBezTo>
                  <a:pt x="1376007" y="404334"/>
                  <a:pt x="1375535" y="407199"/>
                  <a:pt x="1374565" y="409734"/>
                </a:cubicBezTo>
                <a:cubicBezTo>
                  <a:pt x="1373595" y="412268"/>
                  <a:pt x="1372182" y="414279"/>
                  <a:pt x="1370297" y="415767"/>
                </a:cubicBezTo>
                <a:cubicBezTo>
                  <a:pt x="1368440" y="417255"/>
                  <a:pt x="1366084" y="417971"/>
                  <a:pt x="1363312" y="417971"/>
                </a:cubicBezTo>
                <a:cubicBezTo>
                  <a:pt x="1360623" y="417971"/>
                  <a:pt x="1358378" y="417255"/>
                  <a:pt x="1356521" y="415850"/>
                </a:cubicBezTo>
                <a:cubicBezTo>
                  <a:pt x="1354664" y="414445"/>
                  <a:pt x="1353250" y="412461"/>
                  <a:pt x="1352280" y="409954"/>
                </a:cubicBezTo>
                <a:cubicBezTo>
                  <a:pt x="1351310" y="407447"/>
                  <a:pt x="1350811" y="404499"/>
                  <a:pt x="1350811" y="401138"/>
                </a:cubicBezTo>
                <a:cubicBezTo>
                  <a:pt x="1350811" y="397832"/>
                  <a:pt x="1351282" y="394939"/>
                  <a:pt x="1352253" y="392460"/>
                </a:cubicBezTo>
                <a:cubicBezTo>
                  <a:pt x="1353195" y="389980"/>
                  <a:pt x="1354608" y="388052"/>
                  <a:pt x="1356466" y="386674"/>
                </a:cubicBezTo>
                <a:cubicBezTo>
                  <a:pt x="1358323" y="385297"/>
                  <a:pt x="1360596" y="384608"/>
                  <a:pt x="1363312" y="384608"/>
                </a:cubicBezTo>
                <a:close/>
                <a:moveTo>
                  <a:pt x="1181486" y="384497"/>
                </a:moveTo>
                <a:cubicBezTo>
                  <a:pt x="1184396" y="384497"/>
                  <a:pt x="1186807" y="385268"/>
                  <a:pt x="1188720" y="386811"/>
                </a:cubicBezTo>
                <a:cubicBezTo>
                  <a:pt x="1190632" y="388354"/>
                  <a:pt x="1192046" y="390420"/>
                  <a:pt x="1192988" y="392955"/>
                </a:cubicBezTo>
                <a:cubicBezTo>
                  <a:pt x="1193903" y="395517"/>
                  <a:pt x="1194374" y="398299"/>
                  <a:pt x="1194374" y="401330"/>
                </a:cubicBezTo>
                <a:cubicBezTo>
                  <a:pt x="1194374" y="404388"/>
                  <a:pt x="1193903" y="407198"/>
                  <a:pt x="1192988" y="409733"/>
                </a:cubicBezTo>
                <a:cubicBezTo>
                  <a:pt x="1192046" y="412267"/>
                  <a:pt x="1190632" y="414306"/>
                  <a:pt x="1188720" y="415849"/>
                </a:cubicBezTo>
                <a:cubicBezTo>
                  <a:pt x="1186807" y="417391"/>
                  <a:pt x="1184396" y="418135"/>
                  <a:pt x="1181486" y="418135"/>
                </a:cubicBezTo>
                <a:cubicBezTo>
                  <a:pt x="1178548" y="418135"/>
                  <a:pt x="1176136" y="417364"/>
                  <a:pt x="1174196" y="415849"/>
                </a:cubicBezTo>
                <a:cubicBezTo>
                  <a:pt x="1172284" y="414333"/>
                  <a:pt x="1170842" y="412295"/>
                  <a:pt x="1169927" y="409733"/>
                </a:cubicBezTo>
                <a:cubicBezTo>
                  <a:pt x="1168985" y="407198"/>
                  <a:pt x="1168542" y="404388"/>
                  <a:pt x="1168542" y="401330"/>
                </a:cubicBezTo>
                <a:cubicBezTo>
                  <a:pt x="1168542" y="398299"/>
                  <a:pt x="1169013" y="395489"/>
                  <a:pt x="1169927" y="392955"/>
                </a:cubicBezTo>
                <a:cubicBezTo>
                  <a:pt x="1170842" y="390393"/>
                  <a:pt x="1172284" y="388354"/>
                  <a:pt x="1174196" y="386811"/>
                </a:cubicBezTo>
                <a:cubicBezTo>
                  <a:pt x="1176108" y="385268"/>
                  <a:pt x="1178548" y="384497"/>
                  <a:pt x="1181486" y="384497"/>
                </a:cubicBezTo>
                <a:close/>
                <a:moveTo>
                  <a:pt x="1530004" y="384387"/>
                </a:moveTo>
                <a:cubicBezTo>
                  <a:pt x="1532415" y="384387"/>
                  <a:pt x="1534522" y="384938"/>
                  <a:pt x="1536324" y="386040"/>
                </a:cubicBezTo>
                <a:cubicBezTo>
                  <a:pt x="1538125" y="387142"/>
                  <a:pt x="1539511" y="388630"/>
                  <a:pt x="1540509" y="390531"/>
                </a:cubicBezTo>
                <a:cubicBezTo>
                  <a:pt x="1541507" y="392431"/>
                  <a:pt x="1542006" y="394580"/>
                  <a:pt x="1542006" y="397032"/>
                </a:cubicBezTo>
                <a:lnTo>
                  <a:pt x="1517198" y="397032"/>
                </a:lnTo>
                <a:lnTo>
                  <a:pt x="1517198" y="397005"/>
                </a:lnTo>
                <a:cubicBezTo>
                  <a:pt x="1517309" y="394966"/>
                  <a:pt x="1517753" y="393038"/>
                  <a:pt x="1518667" y="391247"/>
                </a:cubicBezTo>
                <a:cubicBezTo>
                  <a:pt x="1519721" y="389208"/>
                  <a:pt x="1521217" y="387555"/>
                  <a:pt x="1523158" y="386288"/>
                </a:cubicBezTo>
                <a:cubicBezTo>
                  <a:pt x="1525098" y="385021"/>
                  <a:pt x="1527371" y="384387"/>
                  <a:pt x="1530004" y="384387"/>
                </a:cubicBezTo>
                <a:close/>
                <a:moveTo>
                  <a:pt x="1415227" y="384387"/>
                </a:moveTo>
                <a:cubicBezTo>
                  <a:pt x="1417638" y="384387"/>
                  <a:pt x="1419745" y="384938"/>
                  <a:pt x="1421547" y="386040"/>
                </a:cubicBezTo>
                <a:cubicBezTo>
                  <a:pt x="1423348" y="387142"/>
                  <a:pt x="1424734" y="388630"/>
                  <a:pt x="1425732" y="390531"/>
                </a:cubicBezTo>
                <a:cubicBezTo>
                  <a:pt x="1426730" y="392431"/>
                  <a:pt x="1427229" y="394580"/>
                  <a:pt x="1427229" y="397032"/>
                </a:cubicBezTo>
                <a:lnTo>
                  <a:pt x="1402421" y="397032"/>
                </a:lnTo>
                <a:lnTo>
                  <a:pt x="1402421" y="397005"/>
                </a:lnTo>
                <a:cubicBezTo>
                  <a:pt x="1402532" y="394966"/>
                  <a:pt x="1402976" y="393038"/>
                  <a:pt x="1403890" y="391247"/>
                </a:cubicBezTo>
                <a:cubicBezTo>
                  <a:pt x="1404944" y="389208"/>
                  <a:pt x="1406440" y="387555"/>
                  <a:pt x="1408381" y="386288"/>
                </a:cubicBezTo>
                <a:cubicBezTo>
                  <a:pt x="1410321" y="385021"/>
                  <a:pt x="1412594" y="384387"/>
                  <a:pt x="1415227" y="384387"/>
                </a:cubicBezTo>
                <a:close/>
                <a:moveTo>
                  <a:pt x="1529948" y="376728"/>
                </a:moveTo>
                <a:cubicBezTo>
                  <a:pt x="1525514" y="376728"/>
                  <a:pt x="1521633" y="377775"/>
                  <a:pt x="1518307" y="379869"/>
                </a:cubicBezTo>
                <a:cubicBezTo>
                  <a:pt x="1514981" y="381963"/>
                  <a:pt x="1512403" y="384855"/>
                  <a:pt x="1510574" y="388574"/>
                </a:cubicBezTo>
                <a:cubicBezTo>
                  <a:pt x="1508744" y="392294"/>
                  <a:pt x="1507802" y="396592"/>
                  <a:pt x="1507802" y="401468"/>
                </a:cubicBezTo>
                <a:cubicBezTo>
                  <a:pt x="1507802" y="406399"/>
                  <a:pt x="1508717" y="410725"/>
                  <a:pt x="1510574" y="414389"/>
                </a:cubicBezTo>
                <a:cubicBezTo>
                  <a:pt x="1512403" y="418053"/>
                  <a:pt x="1515036" y="420891"/>
                  <a:pt x="1518418" y="422902"/>
                </a:cubicBezTo>
                <a:cubicBezTo>
                  <a:pt x="1521827" y="424913"/>
                  <a:pt x="1525874" y="425932"/>
                  <a:pt x="1530614" y="425932"/>
                </a:cubicBezTo>
                <a:cubicBezTo>
                  <a:pt x="1534106" y="425932"/>
                  <a:pt x="1537210" y="425409"/>
                  <a:pt x="1539955" y="424334"/>
                </a:cubicBezTo>
                <a:cubicBezTo>
                  <a:pt x="1542699" y="423260"/>
                  <a:pt x="1544971" y="421772"/>
                  <a:pt x="1546773" y="419844"/>
                </a:cubicBezTo>
                <a:cubicBezTo>
                  <a:pt x="1548602" y="417915"/>
                  <a:pt x="1549850" y="415656"/>
                  <a:pt x="1550570" y="413066"/>
                </a:cubicBezTo>
                <a:lnTo>
                  <a:pt x="1541756" y="411496"/>
                </a:lnTo>
                <a:cubicBezTo>
                  <a:pt x="1541202" y="412984"/>
                  <a:pt x="1540370" y="414224"/>
                  <a:pt x="1539317" y="415243"/>
                </a:cubicBezTo>
                <a:cubicBezTo>
                  <a:pt x="1538264" y="416262"/>
                  <a:pt x="1536989" y="417006"/>
                  <a:pt x="1535547" y="417530"/>
                </a:cubicBezTo>
                <a:cubicBezTo>
                  <a:pt x="1534078" y="418025"/>
                  <a:pt x="1532471" y="418301"/>
                  <a:pt x="1530725" y="418301"/>
                </a:cubicBezTo>
                <a:cubicBezTo>
                  <a:pt x="1528008" y="418301"/>
                  <a:pt x="1525625" y="417722"/>
                  <a:pt x="1523573" y="416538"/>
                </a:cubicBezTo>
                <a:cubicBezTo>
                  <a:pt x="1521550" y="415381"/>
                  <a:pt x="1519942" y="413673"/>
                  <a:pt x="1518834" y="411441"/>
                </a:cubicBezTo>
                <a:cubicBezTo>
                  <a:pt x="1517780" y="409375"/>
                  <a:pt x="1517281" y="406868"/>
                  <a:pt x="1517198" y="403975"/>
                </a:cubicBezTo>
                <a:lnTo>
                  <a:pt x="1551180" y="403975"/>
                </a:lnTo>
                <a:lnTo>
                  <a:pt x="1551180" y="400696"/>
                </a:lnTo>
                <a:cubicBezTo>
                  <a:pt x="1551180" y="396371"/>
                  <a:pt x="1550598" y="392707"/>
                  <a:pt x="1549434" y="389676"/>
                </a:cubicBezTo>
                <a:cubicBezTo>
                  <a:pt x="1548242" y="386618"/>
                  <a:pt x="1546662" y="384139"/>
                  <a:pt x="1544639" y="382238"/>
                </a:cubicBezTo>
                <a:cubicBezTo>
                  <a:pt x="1542615" y="380337"/>
                  <a:pt x="1540343" y="378932"/>
                  <a:pt x="1537820" y="378050"/>
                </a:cubicBezTo>
                <a:cubicBezTo>
                  <a:pt x="1535270" y="377169"/>
                  <a:pt x="1532665" y="376728"/>
                  <a:pt x="1529948" y="376728"/>
                </a:cubicBezTo>
                <a:close/>
                <a:moveTo>
                  <a:pt x="1415171" y="376728"/>
                </a:moveTo>
                <a:cubicBezTo>
                  <a:pt x="1410737" y="376728"/>
                  <a:pt x="1406856" y="377775"/>
                  <a:pt x="1403530" y="379869"/>
                </a:cubicBezTo>
                <a:cubicBezTo>
                  <a:pt x="1400204" y="381963"/>
                  <a:pt x="1397626" y="384855"/>
                  <a:pt x="1395797" y="388574"/>
                </a:cubicBezTo>
                <a:cubicBezTo>
                  <a:pt x="1393967" y="392294"/>
                  <a:pt x="1393025" y="396592"/>
                  <a:pt x="1393025" y="401468"/>
                </a:cubicBezTo>
                <a:cubicBezTo>
                  <a:pt x="1393025" y="406399"/>
                  <a:pt x="1393940" y="410725"/>
                  <a:pt x="1395797" y="414389"/>
                </a:cubicBezTo>
                <a:cubicBezTo>
                  <a:pt x="1397626" y="418053"/>
                  <a:pt x="1400259" y="420891"/>
                  <a:pt x="1403641" y="422902"/>
                </a:cubicBezTo>
                <a:cubicBezTo>
                  <a:pt x="1407050" y="424913"/>
                  <a:pt x="1411097" y="425932"/>
                  <a:pt x="1415837" y="425932"/>
                </a:cubicBezTo>
                <a:cubicBezTo>
                  <a:pt x="1419329" y="425932"/>
                  <a:pt x="1422434" y="425409"/>
                  <a:pt x="1425177" y="424334"/>
                </a:cubicBezTo>
                <a:cubicBezTo>
                  <a:pt x="1427922" y="423260"/>
                  <a:pt x="1430194" y="421772"/>
                  <a:pt x="1431996" y="419844"/>
                </a:cubicBezTo>
                <a:cubicBezTo>
                  <a:pt x="1433826" y="417915"/>
                  <a:pt x="1435073" y="415656"/>
                  <a:pt x="1435793" y="413066"/>
                </a:cubicBezTo>
                <a:lnTo>
                  <a:pt x="1426979" y="411496"/>
                </a:lnTo>
                <a:cubicBezTo>
                  <a:pt x="1426425" y="412984"/>
                  <a:pt x="1425593" y="414224"/>
                  <a:pt x="1424540" y="415243"/>
                </a:cubicBezTo>
                <a:cubicBezTo>
                  <a:pt x="1423487" y="416262"/>
                  <a:pt x="1422212" y="417006"/>
                  <a:pt x="1420771" y="417530"/>
                </a:cubicBezTo>
                <a:cubicBezTo>
                  <a:pt x="1419301" y="418025"/>
                  <a:pt x="1417694" y="418301"/>
                  <a:pt x="1415947" y="418301"/>
                </a:cubicBezTo>
                <a:cubicBezTo>
                  <a:pt x="1413231" y="418301"/>
                  <a:pt x="1410848" y="417722"/>
                  <a:pt x="1408796" y="416538"/>
                </a:cubicBezTo>
                <a:cubicBezTo>
                  <a:pt x="1406773" y="415381"/>
                  <a:pt x="1405165" y="413673"/>
                  <a:pt x="1404057" y="411441"/>
                </a:cubicBezTo>
                <a:cubicBezTo>
                  <a:pt x="1403003" y="409375"/>
                  <a:pt x="1402505" y="406868"/>
                  <a:pt x="1402421" y="403975"/>
                </a:cubicBezTo>
                <a:lnTo>
                  <a:pt x="1436403" y="403975"/>
                </a:lnTo>
                <a:lnTo>
                  <a:pt x="1436403" y="400696"/>
                </a:lnTo>
                <a:cubicBezTo>
                  <a:pt x="1436403" y="396371"/>
                  <a:pt x="1435821" y="392707"/>
                  <a:pt x="1434657" y="389676"/>
                </a:cubicBezTo>
                <a:cubicBezTo>
                  <a:pt x="1433465" y="386618"/>
                  <a:pt x="1431885" y="384139"/>
                  <a:pt x="1429862" y="382238"/>
                </a:cubicBezTo>
                <a:cubicBezTo>
                  <a:pt x="1427838" y="380337"/>
                  <a:pt x="1425566" y="378932"/>
                  <a:pt x="1423043" y="378050"/>
                </a:cubicBezTo>
                <a:cubicBezTo>
                  <a:pt x="1420493" y="377169"/>
                  <a:pt x="1417888" y="376728"/>
                  <a:pt x="1415171" y="376728"/>
                </a:cubicBezTo>
                <a:close/>
                <a:moveTo>
                  <a:pt x="1288086" y="376728"/>
                </a:moveTo>
                <a:cubicBezTo>
                  <a:pt x="1285204" y="376728"/>
                  <a:pt x="1282432" y="377141"/>
                  <a:pt x="1279827" y="377940"/>
                </a:cubicBezTo>
                <a:cubicBezTo>
                  <a:pt x="1277221" y="378767"/>
                  <a:pt x="1274893" y="380062"/>
                  <a:pt x="1272897" y="381852"/>
                </a:cubicBezTo>
                <a:cubicBezTo>
                  <a:pt x="1270902" y="383643"/>
                  <a:pt x="1269377" y="385985"/>
                  <a:pt x="1268324" y="388877"/>
                </a:cubicBezTo>
                <a:lnTo>
                  <a:pt x="1277083" y="390861"/>
                </a:lnTo>
                <a:cubicBezTo>
                  <a:pt x="1277776" y="389181"/>
                  <a:pt x="1279023" y="387665"/>
                  <a:pt x="1280824" y="386288"/>
                </a:cubicBezTo>
                <a:cubicBezTo>
                  <a:pt x="1282626" y="384910"/>
                  <a:pt x="1285093" y="384222"/>
                  <a:pt x="1288225" y="384222"/>
                </a:cubicBezTo>
                <a:cubicBezTo>
                  <a:pt x="1291246" y="384222"/>
                  <a:pt x="1293519" y="384965"/>
                  <a:pt x="1295043" y="386453"/>
                </a:cubicBezTo>
                <a:cubicBezTo>
                  <a:pt x="1296568" y="387941"/>
                  <a:pt x="1297344" y="390035"/>
                  <a:pt x="1297344" y="392762"/>
                </a:cubicBezTo>
                <a:lnTo>
                  <a:pt x="1297344" y="392982"/>
                </a:lnTo>
                <a:cubicBezTo>
                  <a:pt x="1297344" y="394084"/>
                  <a:pt x="1296956" y="394911"/>
                  <a:pt x="1296124" y="395407"/>
                </a:cubicBezTo>
                <a:cubicBezTo>
                  <a:pt x="1295321" y="395903"/>
                  <a:pt x="1294018" y="396261"/>
                  <a:pt x="1292216" y="396481"/>
                </a:cubicBezTo>
                <a:cubicBezTo>
                  <a:pt x="1290415" y="396702"/>
                  <a:pt x="1288086" y="396977"/>
                  <a:pt x="1285231" y="397308"/>
                </a:cubicBezTo>
                <a:cubicBezTo>
                  <a:pt x="1282959" y="397583"/>
                  <a:pt x="1280741" y="397969"/>
                  <a:pt x="1278552" y="398492"/>
                </a:cubicBezTo>
                <a:cubicBezTo>
                  <a:pt x="1276362" y="399016"/>
                  <a:pt x="1274394" y="399787"/>
                  <a:pt x="1272620" y="400779"/>
                </a:cubicBezTo>
                <a:cubicBezTo>
                  <a:pt x="1270846" y="401798"/>
                  <a:pt x="1269460" y="403176"/>
                  <a:pt x="1268407" y="404912"/>
                </a:cubicBezTo>
                <a:cubicBezTo>
                  <a:pt x="1267382" y="406647"/>
                  <a:pt x="1266855" y="408851"/>
                  <a:pt x="1266855" y="411551"/>
                </a:cubicBezTo>
                <a:cubicBezTo>
                  <a:pt x="1266855" y="414664"/>
                  <a:pt x="1267576" y="417309"/>
                  <a:pt x="1268989" y="419458"/>
                </a:cubicBezTo>
                <a:cubicBezTo>
                  <a:pt x="1270403" y="421607"/>
                  <a:pt x="1272343" y="423232"/>
                  <a:pt x="1274810" y="424362"/>
                </a:cubicBezTo>
                <a:cubicBezTo>
                  <a:pt x="1277277" y="425491"/>
                  <a:pt x="1279993" y="426042"/>
                  <a:pt x="1283042" y="426042"/>
                </a:cubicBezTo>
                <a:cubicBezTo>
                  <a:pt x="1285675" y="426042"/>
                  <a:pt x="1287948" y="425657"/>
                  <a:pt x="1289832" y="424885"/>
                </a:cubicBezTo>
                <a:cubicBezTo>
                  <a:pt x="1291717" y="424114"/>
                  <a:pt x="1293269" y="423150"/>
                  <a:pt x="1294489" y="421992"/>
                </a:cubicBezTo>
                <a:cubicBezTo>
                  <a:pt x="1295681" y="420835"/>
                  <a:pt x="1296595" y="419651"/>
                  <a:pt x="1297205" y="418466"/>
                </a:cubicBezTo>
                <a:lnTo>
                  <a:pt x="1297593" y="418466"/>
                </a:lnTo>
                <a:lnTo>
                  <a:pt x="1297593" y="424968"/>
                </a:lnTo>
                <a:lnTo>
                  <a:pt x="1306712" y="424968"/>
                </a:lnTo>
                <a:lnTo>
                  <a:pt x="1306712" y="393341"/>
                </a:lnTo>
                <a:cubicBezTo>
                  <a:pt x="1306712" y="389869"/>
                  <a:pt x="1306102" y="387032"/>
                  <a:pt x="1304883" y="384855"/>
                </a:cubicBezTo>
                <a:cubicBezTo>
                  <a:pt x="1303636" y="382679"/>
                  <a:pt x="1302111" y="380998"/>
                  <a:pt x="1300227" y="379814"/>
                </a:cubicBezTo>
                <a:cubicBezTo>
                  <a:pt x="1298342" y="378629"/>
                  <a:pt x="1296318" y="377830"/>
                  <a:pt x="1294184" y="377389"/>
                </a:cubicBezTo>
                <a:cubicBezTo>
                  <a:pt x="1292022" y="376948"/>
                  <a:pt x="1289999" y="376728"/>
                  <a:pt x="1288086" y="376728"/>
                </a:cubicBezTo>
                <a:close/>
                <a:moveTo>
                  <a:pt x="1181486" y="376728"/>
                </a:moveTo>
                <a:cubicBezTo>
                  <a:pt x="1176995" y="376728"/>
                  <a:pt x="1173087" y="377747"/>
                  <a:pt x="1169733" y="379786"/>
                </a:cubicBezTo>
                <a:cubicBezTo>
                  <a:pt x="1166380" y="381825"/>
                  <a:pt x="1163774" y="384717"/>
                  <a:pt x="1161945" y="388409"/>
                </a:cubicBezTo>
                <a:cubicBezTo>
                  <a:pt x="1160088" y="392101"/>
                  <a:pt x="1159173" y="396426"/>
                  <a:pt x="1159173" y="401357"/>
                </a:cubicBezTo>
                <a:cubicBezTo>
                  <a:pt x="1159173" y="406289"/>
                  <a:pt x="1160115" y="410587"/>
                  <a:pt x="1161945" y="414251"/>
                </a:cubicBezTo>
                <a:cubicBezTo>
                  <a:pt x="1163802" y="417942"/>
                  <a:pt x="1166380" y="420780"/>
                  <a:pt x="1169733" y="422846"/>
                </a:cubicBezTo>
                <a:cubicBezTo>
                  <a:pt x="1173087" y="424885"/>
                  <a:pt x="1176995" y="425904"/>
                  <a:pt x="1181486" y="425904"/>
                </a:cubicBezTo>
                <a:cubicBezTo>
                  <a:pt x="1185976" y="425904"/>
                  <a:pt x="1189884" y="424885"/>
                  <a:pt x="1193238" y="422846"/>
                </a:cubicBezTo>
                <a:cubicBezTo>
                  <a:pt x="1196592" y="420808"/>
                  <a:pt x="1199197" y="417942"/>
                  <a:pt x="1201026" y="414251"/>
                </a:cubicBezTo>
                <a:cubicBezTo>
                  <a:pt x="1202884" y="410587"/>
                  <a:pt x="1203798" y="406289"/>
                  <a:pt x="1203798" y="401357"/>
                </a:cubicBezTo>
                <a:cubicBezTo>
                  <a:pt x="1203798" y="396426"/>
                  <a:pt x="1202884" y="392101"/>
                  <a:pt x="1201026" y="388409"/>
                </a:cubicBezTo>
                <a:cubicBezTo>
                  <a:pt x="1199169" y="384717"/>
                  <a:pt x="1196564" y="381852"/>
                  <a:pt x="1193238" y="379786"/>
                </a:cubicBezTo>
                <a:cubicBezTo>
                  <a:pt x="1189884" y="377747"/>
                  <a:pt x="1185976" y="376728"/>
                  <a:pt x="1181486" y="376728"/>
                </a:cubicBezTo>
                <a:close/>
                <a:moveTo>
                  <a:pt x="1582528" y="376618"/>
                </a:moveTo>
                <a:cubicBezTo>
                  <a:pt x="1579728" y="376618"/>
                  <a:pt x="1577206" y="377362"/>
                  <a:pt x="1574989" y="378822"/>
                </a:cubicBezTo>
                <a:cubicBezTo>
                  <a:pt x="1572771" y="380310"/>
                  <a:pt x="1571219" y="382321"/>
                  <a:pt x="1570360" y="384883"/>
                </a:cubicBezTo>
                <a:lnTo>
                  <a:pt x="1569861" y="384883"/>
                </a:lnTo>
                <a:lnTo>
                  <a:pt x="1569861" y="377307"/>
                </a:lnTo>
                <a:lnTo>
                  <a:pt x="1560853" y="377307"/>
                </a:lnTo>
                <a:lnTo>
                  <a:pt x="1560853" y="424913"/>
                </a:lnTo>
                <a:lnTo>
                  <a:pt x="1570194" y="424913"/>
                </a:lnTo>
                <a:lnTo>
                  <a:pt x="1570194" y="395875"/>
                </a:lnTo>
                <a:cubicBezTo>
                  <a:pt x="1570194" y="393809"/>
                  <a:pt x="1570693" y="391963"/>
                  <a:pt x="1571690" y="390338"/>
                </a:cubicBezTo>
                <a:cubicBezTo>
                  <a:pt x="1572688" y="388712"/>
                  <a:pt x="1574046" y="387445"/>
                  <a:pt x="1575765" y="386536"/>
                </a:cubicBezTo>
                <a:cubicBezTo>
                  <a:pt x="1577483" y="385627"/>
                  <a:pt x="1579451" y="385159"/>
                  <a:pt x="1581641" y="385159"/>
                </a:cubicBezTo>
                <a:cubicBezTo>
                  <a:pt x="1582583" y="385159"/>
                  <a:pt x="1583553" y="385241"/>
                  <a:pt x="1584496" y="385351"/>
                </a:cubicBezTo>
                <a:cubicBezTo>
                  <a:pt x="1585466" y="385489"/>
                  <a:pt x="1586131" y="385599"/>
                  <a:pt x="1586491" y="385710"/>
                </a:cubicBezTo>
                <a:lnTo>
                  <a:pt x="1586491" y="376838"/>
                </a:lnTo>
                <a:cubicBezTo>
                  <a:pt x="1586020" y="376783"/>
                  <a:pt x="1585410" y="376728"/>
                  <a:pt x="1584607" y="376673"/>
                </a:cubicBezTo>
                <a:cubicBezTo>
                  <a:pt x="1583803" y="376646"/>
                  <a:pt x="1583110" y="376618"/>
                  <a:pt x="1582528" y="376618"/>
                </a:cubicBezTo>
                <a:close/>
                <a:moveTo>
                  <a:pt x="1235146" y="376618"/>
                </a:moveTo>
                <a:cubicBezTo>
                  <a:pt x="1232346" y="376618"/>
                  <a:pt x="1229824" y="377362"/>
                  <a:pt x="1227607" y="378822"/>
                </a:cubicBezTo>
                <a:cubicBezTo>
                  <a:pt x="1225389" y="380310"/>
                  <a:pt x="1223837" y="382321"/>
                  <a:pt x="1222978" y="384883"/>
                </a:cubicBezTo>
                <a:lnTo>
                  <a:pt x="1222479" y="384883"/>
                </a:lnTo>
                <a:lnTo>
                  <a:pt x="1222479" y="377334"/>
                </a:lnTo>
                <a:lnTo>
                  <a:pt x="1213471" y="377334"/>
                </a:lnTo>
                <a:lnTo>
                  <a:pt x="1213471" y="424941"/>
                </a:lnTo>
                <a:lnTo>
                  <a:pt x="1222812" y="424941"/>
                </a:lnTo>
                <a:lnTo>
                  <a:pt x="1222812" y="395876"/>
                </a:lnTo>
                <a:cubicBezTo>
                  <a:pt x="1222812" y="393809"/>
                  <a:pt x="1223311" y="391963"/>
                  <a:pt x="1224308" y="390338"/>
                </a:cubicBezTo>
                <a:cubicBezTo>
                  <a:pt x="1225306" y="388713"/>
                  <a:pt x="1226664" y="387445"/>
                  <a:pt x="1228383" y="386536"/>
                </a:cubicBezTo>
                <a:cubicBezTo>
                  <a:pt x="1230101" y="385627"/>
                  <a:pt x="1232069" y="385159"/>
                  <a:pt x="1234259" y="385159"/>
                </a:cubicBezTo>
                <a:cubicBezTo>
                  <a:pt x="1235201" y="385159"/>
                  <a:pt x="1236171" y="385241"/>
                  <a:pt x="1237114" y="385351"/>
                </a:cubicBezTo>
                <a:cubicBezTo>
                  <a:pt x="1238084" y="385489"/>
                  <a:pt x="1238749" y="385599"/>
                  <a:pt x="1239109" y="385710"/>
                </a:cubicBezTo>
                <a:lnTo>
                  <a:pt x="1239109" y="376838"/>
                </a:lnTo>
                <a:cubicBezTo>
                  <a:pt x="1238638" y="376783"/>
                  <a:pt x="1238028" y="376728"/>
                  <a:pt x="1237224" y="376673"/>
                </a:cubicBezTo>
                <a:cubicBezTo>
                  <a:pt x="1236421" y="376618"/>
                  <a:pt x="1235728" y="376618"/>
                  <a:pt x="1235146" y="376618"/>
                </a:cubicBezTo>
                <a:close/>
                <a:moveTo>
                  <a:pt x="1481194" y="365956"/>
                </a:moveTo>
                <a:lnTo>
                  <a:pt x="1481194" y="377362"/>
                </a:lnTo>
                <a:lnTo>
                  <a:pt x="1474181" y="377362"/>
                </a:lnTo>
                <a:lnTo>
                  <a:pt x="1474181" y="384800"/>
                </a:lnTo>
                <a:lnTo>
                  <a:pt x="1481194" y="384800"/>
                </a:lnTo>
                <a:lnTo>
                  <a:pt x="1481194" y="412929"/>
                </a:lnTo>
                <a:cubicBezTo>
                  <a:pt x="1481194" y="415794"/>
                  <a:pt x="1481859" y="418191"/>
                  <a:pt x="1483161" y="420092"/>
                </a:cubicBezTo>
                <a:cubicBezTo>
                  <a:pt x="1484464" y="421993"/>
                  <a:pt x="1486183" y="423398"/>
                  <a:pt x="1488317" y="424307"/>
                </a:cubicBezTo>
                <a:cubicBezTo>
                  <a:pt x="1490423" y="425216"/>
                  <a:pt x="1492724" y="425657"/>
                  <a:pt x="1495191" y="425602"/>
                </a:cubicBezTo>
                <a:cubicBezTo>
                  <a:pt x="1496688" y="425574"/>
                  <a:pt x="1497935" y="425464"/>
                  <a:pt x="1498933" y="425243"/>
                </a:cubicBezTo>
                <a:cubicBezTo>
                  <a:pt x="1499930" y="425023"/>
                  <a:pt x="1500707" y="424803"/>
                  <a:pt x="1501233" y="424610"/>
                </a:cubicBezTo>
                <a:lnTo>
                  <a:pt x="1499542" y="416951"/>
                </a:lnTo>
                <a:cubicBezTo>
                  <a:pt x="1499237" y="416979"/>
                  <a:pt x="1498822" y="417061"/>
                  <a:pt x="1498240" y="417171"/>
                </a:cubicBezTo>
                <a:cubicBezTo>
                  <a:pt x="1497685" y="417282"/>
                  <a:pt x="1497020" y="417337"/>
                  <a:pt x="1496272" y="417337"/>
                </a:cubicBezTo>
                <a:cubicBezTo>
                  <a:pt x="1495246" y="417337"/>
                  <a:pt x="1494304" y="417171"/>
                  <a:pt x="1493445" y="416868"/>
                </a:cubicBezTo>
                <a:cubicBezTo>
                  <a:pt x="1492585" y="416538"/>
                  <a:pt x="1491892" y="415932"/>
                  <a:pt x="1491338" y="415050"/>
                </a:cubicBezTo>
                <a:cubicBezTo>
                  <a:pt x="1490812" y="414141"/>
                  <a:pt x="1490534" y="412791"/>
                  <a:pt x="1490534" y="411000"/>
                </a:cubicBezTo>
                <a:lnTo>
                  <a:pt x="1490534" y="384800"/>
                </a:lnTo>
                <a:lnTo>
                  <a:pt x="1500346" y="384800"/>
                </a:lnTo>
                <a:lnTo>
                  <a:pt x="1500346" y="377362"/>
                </a:lnTo>
                <a:lnTo>
                  <a:pt x="1490534" y="377362"/>
                </a:lnTo>
                <a:lnTo>
                  <a:pt x="1490534" y="365956"/>
                </a:lnTo>
                <a:close/>
                <a:moveTo>
                  <a:pt x="1449264" y="365956"/>
                </a:moveTo>
                <a:lnTo>
                  <a:pt x="1449264" y="377362"/>
                </a:lnTo>
                <a:lnTo>
                  <a:pt x="1442251" y="377362"/>
                </a:lnTo>
                <a:lnTo>
                  <a:pt x="1442251" y="384800"/>
                </a:lnTo>
                <a:lnTo>
                  <a:pt x="1449264" y="384800"/>
                </a:lnTo>
                <a:lnTo>
                  <a:pt x="1449264" y="412929"/>
                </a:lnTo>
                <a:cubicBezTo>
                  <a:pt x="1449264" y="415794"/>
                  <a:pt x="1449929" y="418191"/>
                  <a:pt x="1451232" y="420092"/>
                </a:cubicBezTo>
                <a:cubicBezTo>
                  <a:pt x="1452534" y="421993"/>
                  <a:pt x="1454253" y="423398"/>
                  <a:pt x="1456387" y="424307"/>
                </a:cubicBezTo>
                <a:cubicBezTo>
                  <a:pt x="1458493" y="425216"/>
                  <a:pt x="1460794" y="425657"/>
                  <a:pt x="1463261" y="425602"/>
                </a:cubicBezTo>
                <a:cubicBezTo>
                  <a:pt x="1464758" y="425574"/>
                  <a:pt x="1466005" y="425464"/>
                  <a:pt x="1467003" y="425243"/>
                </a:cubicBezTo>
                <a:cubicBezTo>
                  <a:pt x="1468001" y="425023"/>
                  <a:pt x="1468777" y="424803"/>
                  <a:pt x="1469303" y="424610"/>
                </a:cubicBezTo>
                <a:lnTo>
                  <a:pt x="1467612" y="416951"/>
                </a:lnTo>
                <a:cubicBezTo>
                  <a:pt x="1467308" y="416979"/>
                  <a:pt x="1466864" y="417061"/>
                  <a:pt x="1466310" y="417171"/>
                </a:cubicBezTo>
                <a:cubicBezTo>
                  <a:pt x="1465755" y="417282"/>
                  <a:pt x="1465090" y="417337"/>
                  <a:pt x="1464342" y="417337"/>
                </a:cubicBezTo>
                <a:cubicBezTo>
                  <a:pt x="1463316" y="417337"/>
                  <a:pt x="1462374" y="417171"/>
                  <a:pt x="1461515" y="416868"/>
                </a:cubicBezTo>
                <a:cubicBezTo>
                  <a:pt x="1460655" y="416538"/>
                  <a:pt x="1459963" y="415932"/>
                  <a:pt x="1459408" y="415050"/>
                </a:cubicBezTo>
                <a:cubicBezTo>
                  <a:pt x="1458882" y="414141"/>
                  <a:pt x="1458604" y="412791"/>
                  <a:pt x="1458604" y="411000"/>
                </a:cubicBezTo>
                <a:lnTo>
                  <a:pt x="1458604" y="384800"/>
                </a:lnTo>
                <a:lnTo>
                  <a:pt x="1468416" y="384800"/>
                </a:lnTo>
                <a:lnTo>
                  <a:pt x="1468416" y="377362"/>
                </a:lnTo>
                <a:lnTo>
                  <a:pt x="1458604" y="377362"/>
                </a:lnTo>
                <a:lnTo>
                  <a:pt x="1458604" y="365956"/>
                </a:lnTo>
                <a:close/>
                <a:moveTo>
                  <a:pt x="1341692" y="361466"/>
                </a:moveTo>
                <a:lnTo>
                  <a:pt x="1341692" y="424941"/>
                </a:lnTo>
                <a:lnTo>
                  <a:pt x="1350783" y="424941"/>
                </a:lnTo>
                <a:lnTo>
                  <a:pt x="1350783" y="417530"/>
                </a:lnTo>
                <a:lnTo>
                  <a:pt x="1351560" y="417530"/>
                </a:lnTo>
                <a:cubicBezTo>
                  <a:pt x="1352114" y="418550"/>
                  <a:pt x="1352918" y="419707"/>
                  <a:pt x="1353971" y="421002"/>
                </a:cubicBezTo>
                <a:cubicBezTo>
                  <a:pt x="1354997" y="422297"/>
                  <a:pt x="1356466" y="423454"/>
                  <a:pt x="1358295" y="424418"/>
                </a:cubicBezTo>
                <a:cubicBezTo>
                  <a:pt x="1360124" y="425382"/>
                  <a:pt x="1362508" y="425878"/>
                  <a:pt x="1365418" y="425878"/>
                </a:cubicBezTo>
                <a:cubicBezTo>
                  <a:pt x="1369271" y="425878"/>
                  <a:pt x="1372736" y="424886"/>
                  <a:pt x="1375757" y="422930"/>
                </a:cubicBezTo>
                <a:cubicBezTo>
                  <a:pt x="1378778" y="420947"/>
                  <a:pt x="1381134" y="418136"/>
                  <a:pt x="1382881" y="414472"/>
                </a:cubicBezTo>
                <a:cubicBezTo>
                  <a:pt x="1384599" y="410808"/>
                  <a:pt x="1385458" y="406400"/>
                  <a:pt x="1385458" y="401248"/>
                </a:cubicBezTo>
                <a:cubicBezTo>
                  <a:pt x="1385458" y="396096"/>
                  <a:pt x="1384599" y="391688"/>
                  <a:pt x="1382853" y="388052"/>
                </a:cubicBezTo>
                <a:cubicBezTo>
                  <a:pt x="1381107" y="384388"/>
                  <a:pt x="1378723" y="381578"/>
                  <a:pt x="1375674" y="379621"/>
                </a:cubicBezTo>
                <a:cubicBezTo>
                  <a:pt x="1372653" y="377693"/>
                  <a:pt x="1369188" y="376701"/>
                  <a:pt x="1365335" y="376701"/>
                </a:cubicBezTo>
                <a:cubicBezTo>
                  <a:pt x="1362369" y="376701"/>
                  <a:pt x="1359958" y="377197"/>
                  <a:pt x="1358156" y="378161"/>
                </a:cubicBezTo>
                <a:cubicBezTo>
                  <a:pt x="1356327" y="379153"/>
                  <a:pt x="1354913" y="380283"/>
                  <a:pt x="1353916" y="381578"/>
                </a:cubicBezTo>
                <a:cubicBezTo>
                  <a:pt x="1352890" y="382872"/>
                  <a:pt x="1352114" y="384030"/>
                  <a:pt x="1351560" y="385021"/>
                </a:cubicBezTo>
                <a:lnTo>
                  <a:pt x="1351005" y="385021"/>
                </a:lnTo>
                <a:lnTo>
                  <a:pt x="1351005" y="361466"/>
                </a:lnTo>
                <a:close/>
                <a:moveTo>
                  <a:pt x="1146949" y="358490"/>
                </a:moveTo>
                <a:cubicBezTo>
                  <a:pt x="1144427" y="358490"/>
                  <a:pt x="1142071" y="358986"/>
                  <a:pt x="1139909" y="359978"/>
                </a:cubicBezTo>
                <a:cubicBezTo>
                  <a:pt x="1137747" y="360970"/>
                  <a:pt x="1136001" y="362430"/>
                  <a:pt x="1134698" y="364413"/>
                </a:cubicBezTo>
                <a:cubicBezTo>
                  <a:pt x="1133396" y="366397"/>
                  <a:pt x="1132730" y="368849"/>
                  <a:pt x="1132730" y="371824"/>
                </a:cubicBezTo>
                <a:lnTo>
                  <a:pt x="1132730" y="377334"/>
                </a:lnTo>
                <a:lnTo>
                  <a:pt x="1125302" y="377334"/>
                </a:lnTo>
                <a:lnTo>
                  <a:pt x="1125302" y="384773"/>
                </a:lnTo>
                <a:lnTo>
                  <a:pt x="1132730" y="384773"/>
                </a:lnTo>
                <a:lnTo>
                  <a:pt x="1132730" y="424968"/>
                </a:lnTo>
                <a:lnTo>
                  <a:pt x="1142043" y="424968"/>
                </a:lnTo>
                <a:lnTo>
                  <a:pt x="1142043" y="384773"/>
                </a:lnTo>
                <a:lnTo>
                  <a:pt x="1152382" y="384773"/>
                </a:lnTo>
                <a:lnTo>
                  <a:pt x="1152382" y="377334"/>
                </a:lnTo>
                <a:lnTo>
                  <a:pt x="1142043" y="377334"/>
                </a:lnTo>
                <a:lnTo>
                  <a:pt x="1142043" y="373064"/>
                </a:lnTo>
                <a:cubicBezTo>
                  <a:pt x="1142043" y="370943"/>
                  <a:pt x="1142542" y="369345"/>
                  <a:pt x="1143485" y="368215"/>
                </a:cubicBezTo>
                <a:cubicBezTo>
                  <a:pt x="1144455" y="367113"/>
                  <a:pt x="1146062" y="366535"/>
                  <a:pt x="1148335" y="366535"/>
                </a:cubicBezTo>
                <a:cubicBezTo>
                  <a:pt x="1149305" y="366535"/>
                  <a:pt x="1150137" y="366617"/>
                  <a:pt x="1150830" y="366810"/>
                </a:cubicBezTo>
                <a:cubicBezTo>
                  <a:pt x="1151523" y="366975"/>
                  <a:pt x="1152077" y="367141"/>
                  <a:pt x="1152520" y="367251"/>
                </a:cubicBezTo>
                <a:lnTo>
                  <a:pt x="1154710" y="359757"/>
                </a:lnTo>
                <a:cubicBezTo>
                  <a:pt x="1154072" y="359509"/>
                  <a:pt x="1153075" y="359234"/>
                  <a:pt x="1151744" y="358931"/>
                </a:cubicBezTo>
                <a:cubicBezTo>
                  <a:pt x="1150414" y="358628"/>
                  <a:pt x="1148806" y="358490"/>
                  <a:pt x="1146949" y="358490"/>
                </a:cubicBezTo>
                <a:close/>
                <a:moveTo>
                  <a:pt x="1594752" y="295704"/>
                </a:moveTo>
                <a:cubicBezTo>
                  <a:pt x="1597468" y="295704"/>
                  <a:pt x="1599769" y="296393"/>
                  <a:pt x="1601626" y="297770"/>
                </a:cubicBezTo>
                <a:cubicBezTo>
                  <a:pt x="1603483" y="299148"/>
                  <a:pt x="1604869" y="301049"/>
                  <a:pt x="1605839" y="303501"/>
                </a:cubicBezTo>
                <a:cubicBezTo>
                  <a:pt x="1606781" y="305952"/>
                  <a:pt x="1607280" y="308763"/>
                  <a:pt x="1607280" y="311958"/>
                </a:cubicBezTo>
                <a:cubicBezTo>
                  <a:pt x="1607252" y="315209"/>
                  <a:pt x="1606781" y="318019"/>
                  <a:pt x="1605811" y="320361"/>
                </a:cubicBezTo>
                <a:cubicBezTo>
                  <a:pt x="1604841" y="322703"/>
                  <a:pt x="1603427" y="324494"/>
                  <a:pt x="1601570" y="325761"/>
                </a:cubicBezTo>
                <a:cubicBezTo>
                  <a:pt x="1599713" y="327001"/>
                  <a:pt x="1597440" y="327634"/>
                  <a:pt x="1594752" y="327634"/>
                </a:cubicBezTo>
                <a:cubicBezTo>
                  <a:pt x="1591980" y="327634"/>
                  <a:pt x="1589652" y="326973"/>
                  <a:pt x="1587795" y="325651"/>
                </a:cubicBezTo>
                <a:cubicBezTo>
                  <a:pt x="1585938" y="324328"/>
                  <a:pt x="1584496" y="322482"/>
                  <a:pt x="1583554" y="320141"/>
                </a:cubicBezTo>
                <a:cubicBezTo>
                  <a:pt x="1582584" y="317771"/>
                  <a:pt x="1582112" y="315044"/>
                  <a:pt x="1582112" y="311931"/>
                </a:cubicBezTo>
                <a:cubicBezTo>
                  <a:pt x="1582112" y="308900"/>
                  <a:pt x="1582584" y="306145"/>
                  <a:pt x="1583526" y="303693"/>
                </a:cubicBezTo>
                <a:cubicBezTo>
                  <a:pt x="1584468" y="301241"/>
                  <a:pt x="1585882" y="299285"/>
                  <a:pt x="1587739" y="297853"/>
                </a:cubicBezTo>
                <a:cubicBezTo>
                  <a:pt x="1589596" y="296420"/>
                  <a:pt x="1591952" y="295704"/>
                  <a:pt x="1594752" y="295704"/>
                </a:cubicBezTo>
                <a:close/>
                <a:moveTo>
                  <a:pt x="1254992" y="295704"/>
                </a:moveTo>
                <a:cubicBezTo>
                  <a:pt x="1257708" y="295704"/>
                  <a:pt x="1260009" y="296393"/>
                  <a:pt x="1261866" y="297770"/>
                </a:cubicBezTo>
                <a:cubicBezTo>
                  <a:pt x="1263723" y="299148"/>
                  <a:pt x="1265109" y="301049"/>
                  <a:pt x="1266079" y="303501"/>
                </a:cubicBezTo>
                <a:cubicBezTo>
                  <a:pt x="1267021" y="305952"/>
                  <a:pt x="1267520" y="308763"/>
                  <a:pt x="1267520" y="311958"/>
                </a:cubicBezTo>
                <a:cubicBezTo>
                  <a:pt x="1267492" y="315209"/>
                  <a:pt x="1267021" y="318019"/>
                  <a:pt x="1266051" y="320361"/>
                </a:cubicBezTo>
                <a:cubicBezTo>
                  <a:pt x="1265081" y="322703"/>
                  <a:pt x="1263667" y="324494"/>
                  <a:pt x="1261810" y="325761"/>
                </a:cubicBezTo>
                <a:cubicBezTo>
                  <a:pt x="1259953" y="327001"/>
                  <a:pt x="1257680" y="327634"/>
                  <a:pt x="1254992" y="327634"/>
                </a:cubicBezTo>
                <a:cubicBezTo>
                  <a:pt x="1252220" y="327634"/>
                  <a:pt x="1249892" y="326973"/>
                  <a:pt x="1248035" y="325651"/>
                </a:cubicBezTo>
                <a:cubicBezTo>
                  <a:pt x="1246150" y="324328"/>
                  <a:pt x="1244736" y="322482"/>
                  <a:pt x="1243794" y="320141"/>
                </a:cubicBezTo>
                <a:cubicBezTo>
                  <a:pt x="1242824" y="317771"/>
                  <a:pt x="1242353" y="315044"/>
                  <a:pt x="1242353" y="311931"/>
                </a:cubicBezTo>
                <a:cubicBezTo>
                  <a:pt x="1242353" y="308900"/>
                  <a:pt x="1242824" y="306145"/>
                  <a:pt x="1243766" y="303693"/>
                </a:cubicBezTo>
                <a:cubicBezTo>
                  <a:pt x="1244709" y="301241"/>
                  <a:pt x="1246122" y="299285"/>
                  <a:pt x="1247979" y="297853"/>
                </a:cubicBezTo>
                <a:cubicBezTo>
                  <a:pt x="1249836" y="296420"/>
                  <a:pt x="1252192" y="295704"/>
                  <a:pt x="1254992" y="295704"/>
                </a:cubicBezTo>
                <a:close/>
                <a:moveTo>
                  <a:pt x="1435155" y="295456"/>
                </a:moveTo>
                <a:cubicBezTo>
                  <a:pt x="1437566" y="295456"/>
                  <a:pt x="1439673" y="296007"/>
                  <a:pt x="1441474" y="297109"/>
                </a:cubicBezTo>
                <a:cubicBezTo>
                  <a:pt x="1443276" y="298211"/>
                  <a:pt x="1444662" y="299699"/>
                  <a:pt x="1445660" y="301599"/>
                </a:cubicBezTo>
                <a:cubicBezTo>
                  <a:pt x="1446658" y="303500"/>
                  <a:pt x="1447156" y="305649"/>
                  <a:pt x="1447156" y="308101"/>
                </a:cubicBezTo>
                <a:lnTo>
                  <a:pt x="1422349" y="308101"/>
                </a:lnTo>
                <a:cubicBezTo>
                  <a:pt x="1422460" y="306035"/>
                  <a:pt x="1422904" y="304107"/>
                  <a:pt x="1423818" y="302316"/>
                </a:cubicBezTo>
                <a:cubicBezTo>
                  <a:pt x="1424872" y="300277"/>
                  <a:pt x="1426368" y="298624"/>
                  <a:pt x="1428309" y="297357"/>
                </a:cubicBezTo>
                <a:cubicBezTo>
                  <a:pt x="1430249" y="296089"/>
                  <a:pt x="1432522" y="295456"/>
                  <a:pt x="1435155" y="295456"/>
                </a:cubicBezTo>
                <a:close/>
                <a:moveTo>
                  <a:pt x="1383573" y="295456"/>
                </a:moveTo>
                <a:cubicBezTo>
                  <a:pt x="1385985" y="295456"/>
                  <a:pt x="1388091" y="296007"/>
                  <a:pt x="1389893" y="297109"/>
                </a:cubicBezTo>
                <a:cubicBezTo>
                  <a:pt x="1391694" y="298211"/>
                  <a:pt x="1393080" y="299699"/>
                  <a:pt x="1394078" y="301599"/>
                </a:cubicBezTo>
                <a:cubicBezTo>
                  <a:pt x="1395076" y="303500"/>
                  <a:pt x="1395575" y="305649"/>
                  <a:pt x="1395575" y="308101"/>
                </a:cubicBezTo>
                <a:lnTo>
                  <a:pt x="1370768" y="308101"/>
                </a:lnTo>
                <a:cubicBezTo>
                  <a:pt x="1370878" y="306035"/>
                  <a:pt x="1371322" y="304107"/>
                  <a:pt x="1372237" y="302316"/>
                </a:cubicBezTo>
                <a:cubicBezTo>
                  <a:pt x="1373290" y="300277"/>
                  <a:pt x="1374787" y="298624"/>
                  <a:pt x="1376727" y="297357"/>
                </a:cubicBezTo>
                <a:cubicBezTo>
                  <a:pt x="1378667" y="296089"/>
                  <a:pt x="1380940" y="295456"/>
                  <a:pt x="1383573" y="295456"/>
                </a:cubicBezTo>
                <a:close/>
                <a:moveTo>
                  <a:pt x="1500429" y="288403"/>
                </a:moveTo>
                <a:lnTo>
                  <a:pt x="1500429" y="336009"/>
                </a:lnTo>
                <a:lnTo>
                  <a:pt x="1509770" y="336009"/>
                </a:lnTo>
                <a:lnTo>
                  <a:pt x="1509770" y="288403"/>
                </a:lnTo>
                <a:close/>
                <a:moveTo>
                  <a:pt x="1289195" y="288403"/>
                </a:moveTo>
                <a:lnTo>
                  <a:pt x="1289195" y="336009"/>
                </a:lnTo>
                <a:lnTo>
                  <a:pt x="1298536" y="336009"/>
                </a:lnTo>
                <a:lnTo>
                  <a:pt x="1298536" y="288403"/>
                </a:lnTo>
                <a:close/>
                <a:moveTo>
                  <a:pt x="1435099" y="287852"/>
                </a:moveTo>
                <a:cubicBezTo>
                  <a:pt x="1430665" y="287852"/>
                  <a:pt x="1426784" y="288899"/>
                  <a:pt x="1423458" y="290993"/>
                </a:cubicBezTo>
                <a:cubicBezTo>
                  <a:pt x="1420132" y="293087"/>
                  <a:pt x="1417554" y="295979"/>
                  <a:pt x="1415725" y="299699"/>
                </a:cubicBezTo>
                <a:cubicBezTo>
                  <a:pt x="1413895" y="303418"/>
                  <a:pt x="1412953" y="307716"/>
                  <a:pt x="1412953" y="312592"/>
                </a:cubicBezTo>
                <a:cubicBezTo>
                  <a:pt x="1412953" y="317523"/>
                  <a:pt x="1413868" y="321849"/>
                  <a:pt x="1415725" y="325513"/>
                </a:cubicBezTo>
                <a:cubicBezTo>
                  <a:pt x="1417554" y="329122"/>
                  <a:pt x="1420187" y="331960"/>
                  <a:pt x="1423569" y="333971"/>
                </a:cubicBezTo>
                <a:cubicBezTo>
                  <a:pt x="1426978" y="335982"/>
                  <a:pt x="1431025" y="337001"/>
                  <a:pt x="1435765" y="337001"/>
                </a:cubicBezTo>
                <a:cubicBezTo>
                  <a:pt x="1439257" y="337001"/>
                  <a:pt x="1442361" y="336478"/>
                  <a:pt x="1445105" y="335403"/>
                </a:cubicBezTo>
                <a:cubicBezTo>
                  <a:pt x="1447849" y="334329"/>
                  <a:pt x="1450122" y="332841"/>
                  <a:pt x="1451924" y="330913"/>
                </a:cubicBezTo>
                <a:cubicBezTo>
                  <a:pt x="1453753" y="328984"/>
                  <a:pt x="1455000" y="326725"/>
                  <a:pt x="1455721" y="324135"/>
                </a:cubicBezTo>
                <a:lnTo>
                  <a:pt x="1446907" y="322565"/>
                </a:lnTo>
                <a:cubicBezTo>
                  <a:pt x="1446353" y="324053"/>
                  <a:pt x="1445521" y="325292"/>
                  <a:pt x="1444468" y="326312"/>
                </a:cubicBezTo>
                <a:cubicBezTo>
                  <a:pt x="1443415" y="327331"/>
                  <a:pt x="1442140" y="328075"/>
                  <a:pt x="1440698" y="328598"/>
                </a:cubicBezTo>
                <a:cubicBezTo>
                  <a:pt x="1439229" y="329094"/>
                  <a:pt x="1437622" y="329370"/>
                  <a:pt x="1435875" y="329370"/>
                </a:cubicBezTo>
                <a:cubicBezTo>
                  <a:pt x="1433159" y="329370"/>
                  <a:pt x="1430775" y="328791"/>
                  <a:pt x="1428724" y="327607"/>
                </a:cubicBezTo>
                <a:cubicBezTo>
                  <a:pt x="1426701" y="326450"/>
                  <a:pt x="1425093" y="324741"/>
                  <a:pt x="1423985" y="322510"/>
                </a:cubicBezTo>
                <a:cubicBezTo>
                  <a:pt x="1422931" y="320444"/>
                  <a:pt x="1422432" y="317937"/>
                  <a:pt x="1422349" y="315044"/>
                </a:cubicBezTo>
                <a:lnTo>
                  <a:pt x="1456303" y="315044"/>
                </a:lnTo>
                <a:lnTo>
                  <a:pt x="1456303" y="311765"/>
                </a:lnTo>
                <a:cubicBezTo>
                  <a:pt x="1456303" y="307440"/>
                  <a:pt x="1455721" y="303776"/>
                  <a:pt x="1454557" y="300745"/>
                </a:cubicBezTo>
                <a:cubicBezTo>
                  <a:pt x="1453393" y="297715"/>
                  <a:pt x="1451813" y="295263"/>
                  <a:pt x="1449789" y="293362"/>
                </a:cubicBezTo>
                <a:cubicBezTo>
                  <a:pt x="1447766" y="291461"/>
                  <a:pt x="1445493" y="290056"/>
                  <a:pt x="1442971" y="289174"/>
                </a:cubicBezTo>
                <a:cubicBezTo>
                  <a:pt x="1440421" y="288293"/>
                  <a:pt x="1437816" y="287852"/>
                  <a:pt x="1435099" y="287852"/>
                </a:cubicBezTo>
                <a:close/>
                <a:moveTo>
                  <a:pt x="1383545" y="287852"/>
                </a:moveTo>
                <a:cubicBezTo>
                  <a:pt x="1379110" y="287852"/>
                  <a:pt x="1375230" y="288899"/>
                  <a:pt x="1371904" y="290993"/>
                </a:cubicBezTo>
                <a:cubicBezTo>
                  <a:pt x="1368578" y="293087"/>
                  <a:pt x="1366000" y="295979"/>
                  <a:pt x="1364171" y="299699"/>
                </a:cubicBezTo>
                <a:cubicBezTo>
                  <a:pt x="1362341" y="303418"/>
                  <a:pt x="1361399" y="307716"/>
                  <a:pt x="1361399" y="312592"/>
                </a:cubicBezTo>
                <a:cubicBezTo>
                  <a:pt x="1361399" y="317523"/>
                  <a:pt x="1362314" y="321849"/>
                  <a:pt x="1364171" y="325513"/>
                </a:cubicBezTo>
                <a:cubicBezTo>
                  <a:pt x="1365972" y="329122"/>
                  <a:pt x="1368606" y="331960"/>
                  <a:pt x="1371987" y="333971"/>
                </a:cubicBezTo>
                <a:cubicBezTo>
                  <a:pt x="1375396" y="335982"/>
                  <a:pt x="1379443" y="337001"/>
                  <a:pt x="1384183" y="337001"/>
                </a:cubicBezTo>
                <a:cubicBezTo>
                  <a:pt x="1387675" y="337001"/>
                  <a:pt x="1390780" y="336478"/>
                  <a:pt x="1393524" y="335403"/>
                </a:cubicBezTo>
                <a:cubicBezTo>
                  <a:pt x="1396268" y="334329"/>
                  <a:pt x="1398540" y="332841"/>
                  <a:pt x="1400342" y="330913"/>
                </a:cubicBezTo>
                <a:cubicBezTo>
                  <a:pt x="1402171" y="328984"/>
                  <a:pt x="1403419" y="326725"/>
                  <a:pt x="1404139" y="324135"/>
                </a:cubicBezTo>
                <a:lnTo>
                  <a:pt x="1395325" y="322565"/>
                </a:lnTo>
                <a:cubicBezTo>
                  <a:pt x="1394771" y="324053"/>
                  <a:pt x="1393939" y="325292"/>
                  <a:pt x="1392886" y="326312"/>
                </a:cubicBezTo>
                <a:cubicBezTo>
                  <a:pt x="1391833" y="327331"/>
                  <a:pt x="1390558" y="328075"/>
                  <a:pt x="1389116" y="328598"/>
                </a:cubicBezTo>
                <a:cubicBezTo>
                  <a:pt x="1387648" y="329094"/>
                  <a:pt x="1386040" y="329370"/>
                  <a:pt x="1384294" y="329370"/>
                </a:cubicBezTo>
                <a:cubicBezTo>
                  <a:pt x="1381577" y="329370"/>
                  <a:pt x="1379194" y="328791"/>
                  <a:pt x="1377143" y="327607"/>
                </a:cubicBezTo>
                <a:cubicBezTo>
                  <a:pt x="1375119" y="326450"/>
                  <a:pt x="1373512" y="324741"/>
                  <a:pt x="1372403" y="322510"/>
                </a:cubicBezTo>
                <a:cubicBezTo>
                  <a:pt x="1371350" y="320444"/>
                  <a:pt x="1370851" y="317937"/>
                  <a:pt x="1370768" y="315044"/>
                </a:cubicBezTo>
                <a:lnTo>
                  <a:pt x="1404749" y="315044"/>
                </a:lnTo>
                <a:lnTo>
                  <a:pt x="1404749" y="311765"/>
                </a:lnTo>
                <a:cubicBezTo>
                  <a:pt x="1404749" y="307440"/>
                  <a:pt x="1404167" y="303776"/>
                  <a:pt x="1403003" y="300745"/>
                </a:cubicBezTo>
                <a:cubicBezTo>
                  <a:pt x="1401839" y="297715"/>
                  <a:pt x="1400259" y="295263"/>
                  <a:pt x="1398235" y="293362"/>
                </a:cubicBezTo>
                <a:cubicBezTo>
                  <a:pt x="1396212" y="291461"/>
                  <a:pt x="1393939" y="290056"/>
                  <a:pt x="1391417" y="289174"/>
                </a:cubicBezTo>
                <a:cubicBezTo>
                  <a:pt x="1388867" y="288293"/>
                  <a:pt x="1386262" y="287852"/>
                  <a:pt x="1383545" y="287852"/>
                </a:cubicBezTo>
                <a:close/>
                <a:moveTo>
                  <a:pt x="1592728" y="287797"/>
                </a:moveTo>
                <a:cubicBezTo>
                  <a:pt x="1588876" y="287797"/>
                  <a:pt x="1585439" y="288761"/>
                  <a:pt x="1582390" y="290690"/>
                </a:cubicBezTo>
                <a:cubicBezTo>
                  <a:pt x="1579341" y="292618"/>
                  <a:pt x="1576957" y="295401"/>
                  <a:pt x="1575239" y="299010"/>
                </a:cubicBezTo>
                <a:cubicBezTo>
                  <a:pt x="1573492" y="302619"/>
                  <a:pt x="1572633" y="306972"/>
                  <a:pt x="1572633" y="312041"/>
                </a:cubicBezTo>
                <a:cubicBezTo>
                  <a:pt x="1572633" y="317110"/>
                  <a:pt x="1573520" y="321380"/>
                  <a:pt x="1575266" y="324824"/>
                </a:cubicBezTo>
                <a:cubicBezTo>
                  <a:pt x="1577012" y="328295"/>
                  <a:pt x="1579424" y="330913"/>
                  <a:pt x="1582445" y="332676"/>
                </a:cubicBezTo>
                <a:cubicBezTo>
                  <a:pt x="1585466" y="334439"/>
                  <a:pt x="1588876" y="335321"/>
                  <a:pt x="1592645" y="335321"/>
                </a:cubicBezTo>
                <a:cubicBezTo>
                  <a:pt x="1595583" y="335321"/>
                  <a:pt x="1597967" y="334852"/>
                  <a:pt x="1599796" y="333943"/>
                </a:cubicBezTo>
                <a:cubicBezTo>
                  <a:pt x="1601626" y="333034"/>
                  <a:pt x="1603067" y="331960"/>
                  <a:pt x="1604120" y="330720"/>
                </a:cubicBezTo>
                <a:cubicBezTo>
                  <a:pt x="1605173" y="329480"/>
                  <a:pt x="1605977" y="328351"/>
                  <a:pt x="1606532" y="327331"/>
                </a:cubicBezTo>
                <a:lnTo>
                  <a:pt x="1607114" y="327331"/>
                </a:lnTo>
                <a:lnTo>
                  <a:pt x="1607114" y="336698"/>
                </a:lnTo>
                <a:cubicBezTo>
                  <a:pt x="1607114" y="340390"/>
                  <a:pt x="1605950" y="343062"/>
                  <a:pt x="1603649" y="344770"/>
                </a:cubicBezTo>
                <a:cubicBezTo>
                  <a:pt x="1601349" y="346478"/>
                  <a:pt x="1598410" y="347305"/>
                  <a:pt x="1594890" y="347305"/>
                </a:cubicBezTo>
                <a:cubicBezTo>
                  <a:pt x="1592313" y="347305"/>
                  <a:pt x="1590206" y="346947"/>
                  <a:pt x="1588571" y="346231"/>
                </a:cubicBezTo>
                <a:cubicBezTo>
                  <a:pt x="1586935" y="345514"/>
                  <a:pt x="1585660" y="344633"/>
                  <a:pt x="1584718" y="343613"/>
                </a:cubicBezTo>
                <a:cubicBezTo>
                  <a:pt x="1583776" y="342594"/>
                  <a:pt x="1583027" y="341657"/>
                  <a:pt x="1582445" y="340803"/>
                </a:cubicBezTo>
                <a:lnTo>
                  <a:pt x="1574435" y="344082"/>
                </a:lnTo>
                <a:cubicBezTo>
                  <a:pt x="1575266" y="345983"/>
                  <a:pt x="1576569" y="347746"/>
                  <a:pt x="1578287" y="349371"/>
                </a:cubicBezTo>
                <a:cubicBezTo>
                  <a:pt x="1580006" y="350997"/>
                  <a:pt x="1582251" y="352292"/>
                  <a:pt x="1584967" y="353283"/>
                </a:cubicBezTo>
                <a:cubicBezTo>
                  <a:pt x="1587712" y="354275"/>
                  <a:pt x="1590982" y="354771"/>
                  <a:pt x="1594779" y="354771"/>
                </a:cubicBezTo>
                <a:cubicBezTo>
                  <a:pt x="1598854" y="354771"/>
                  <a:pt x="1602513" y="354137"/>
                  <a:pt x="1605756" y="352870"/>
                </a:cubicBezTo>
                <a:cubicBezTo>
                  <a:pt x="1608999" y="351603"/>
                  <a:pt x="1611604" y="349674"/>
                  <a:pt x="1613517" y="347057"/>
                </a:cubicBezTo>
                <a:cubicBezTo>
                  <a:pt x="1615429" y="344440"/>
                  <a:pt x="1616399" y="341106"/>
                  <a:pt x="1616399" y="337056"/>
                </a:cubicBezTo>
                <a:lnTo>
                  <a:pt x="1616399" y="288403"/>
                </a:lnTo>
                <a:lnTo>
                  <a:pt x="1607308" y="288403"/>
                </a:lnTo>
                <a:lnTo>
                  <a:pt x="1607308" y="296117"/>
                </a:lnTo>
                <a:lnTo>
                  <a:pt x="1606615" y="296117"/>
                </a:lnTo>
                <a:cubicBezTo>
                  <a:pt x="1606061" y="295125"/>
                  <a:pt x="1605257" y="293968"/>
                  <a:pt x="1604231" y="292673"/>
                </a:cubicBezTo>
                <a:cubicBezTo>
                  <a:pt x="1603206" y="291379"/>
                  <a:pt x="1601764" y="290221"/>
                  <a:pt x="1599935" y="289257"/>
                </a:cubicBezTo>
                <a:cubicBezTo>
                  <a:pt x="1598106" y="288265"/>
                  <a:pt x="1595694" y="287797"/>
                  <a:pt x="1592728" y="287797"/>
                </a:cubicBezTo>
                <a:close/>
                <a:moveTo>
                  <a:pt x="1252996" y="287797"/>
                </a:moveTo>
                <a:cubicBezTo>
                  <a:pt x="1249143" y="287797"/>
                  <a:pt x="1245706" y="288761"/>
                  <a:pt x="1242658" y="290690"/>
                </a:cubicBezTo>
                <a:cubicBezTo>
                  <a:pt x="1239609" y="292618"/>
                  <a:pt x="1237225" y="295401"/>
                  <a:pt x="1235506" y="299010"/>
                </a:cubicBezTo>
                <a:cubicBezTo>
                  <a:pt x="1233760" y="302619"/>
                  <a:pt x="1232901" y="306972"/>
                  <a:pt x="1232901" y="312041"/>
                </a:cubicBezTo>
                <a:cubicBezTo>
                  <a:pt x="1232901" y="317110"/>
                  <a:pt x="1233788" y="321380"/>
                  <a:pt x="1235534" y="324824"/>
                </a:cubicBezTo>
                <a:cubicBezTo>
                  <a:pt x="1237280" y="328295"/>
                  <a:pt x="1239692" y="330913"/>
                  <a:pt x="1242713" y="332676"/>
                </a:cubicBezTo>
                <a:cubicBezTo>
                  <a:pt x="1245734" y="334439"/>
                  <a:pt x="1249143" y="335321"/>
                  <a:pt x="1252913" y="335321"/>
                </a:cubicBezTo>
                <a:cubicBezTo>
                  <a:pt x="1255851" y="335321"/>
                  <a:pt x="1258235" y="334852"/>
                  <a:pt x="1260064" y="333943"/>
                </a:cubicBezTo>
                <a:cubicBezTo>
                  <a:pt x="1261893" y="333034"/>
                  <a:pt x="1263335" y="331960"/>
                  <a:pt x="1264388" y="330720"/>
                </a:cubicBezTo>
                <a:cubicBezTo>
                  <a:pt x="1265441" y="329480"/>
                  <a:pt x="1266245" y="328351"/>
                  <a:pt x="1266799" y="327331"/>
                </a:cubicBezTo>
                <a:lnTo>
                  <a:pt x="1267381" y="327331"/>
                </a:lnTo>
                <a:lnTo>
                  <a:pt x="1267381" y="336698"/>
                </a:lnTo>
                <a:cubicBezTo>
                  <a:pt x="1267381" y="340390"/>
                  <a:pt x="1266217" y="343062"/>
                  <a:pt x="1263917" y="344770"/>
                </a:cubicBezTo>
                <a:cubicBezTo>
                  <a:pt x="1261616" y="346478"/>
                  <a:pt x="1258678" y="347305"/>
                  <a:pt x="1255158" y="347305"/>
                </a:cubicBezTo>
                <a:cubicBezTo>
                  <a:pt x="1252580" y="347305"/>
                  <a:pt x="1250474" y="346947"/>
                  <a:pt x="1248839" y="346231"/>
                </a:cubicBezTo>
                <a:cubicBezTo>
                  <a:pt x="1247203" y="345514"/>
                  <a:pt x="1245928" y="344633"/>
                  <a:pt x="1244986" y="343613"/>
                </a:cubicBezTo>
                <a:cubicBezTo>
                  <a:pt x="1244043" y="342594"/>
                  <a:pt x="1243295" y="341657"/>
                  <a:pt x="1242713" y="340803"/>
                </a:cubicBezTo>
                <a:lnTo>
                  <a:pt x="1234703" y="344082"/>
                </a:lnTo>
                <a:cubicBezTo>
                  <a:pt x="1235534" y="345983"/>
                  <a:pt x="1236837" y="347746"/>
                  <a:pt x="1238555" y="349371"/>
                </a:cubicBezTo>
                <a:cubicBezTo>
                  <a:pt x="1240274" y="350997"/>
                  <a:pt x="1242519" y="352292"/>
                  <a:pt x="1245235" y="353283"/>
                </a:cubicBezTo>
                <a:cubicBezTo>
                  <a:pt x="1247979" y="354275"/>
                  <a:pt x="1251250" y="354771"/>
                  <a:pt x="1255047" y="354771"/>
                </a:cubicBezTo>
                <a:cubicBezTo>
                  <a:pt x="1259149" y="354771"/>
                  <a:pt x="1262808" y="354165"/>
                  <a:pt x="1266079" y="352898"/>
                </a:cubicBezTo>
                <a:cubicBezTo>
                  <a:pt x="1269322" y="351630"/>
                  <a:pt x="1271927" y="349702"/>
                  <a:pt x="1273840" y="347085"/>
                </a:cubicBezTo>
                <a:cubicBezTo>
                  <a:pt x="1275752" y="344467"/>
                  <a:pt x="1276722" y="341134"/>
                  <a:pt x="1276722" y="337084"/>
                </a:cubicBezTo>
                <a:lnTo>
                  <a:pt x="1276722" y="288403"/>
                </a:lnTo>
                <a:lnTo>
                  <a:pt x="1267576" y="288403"/>
                </a:lnTo>
                <a:lnTo>
                  <a:pt x="1267576" y="296117"/>
                </a:lnTo>
                <a:lnTo>
                  <a:pt x="1266882" y="296117"/>
                </a:lnTo>
                <a:cubicBezTo>
                  <a:pt x="1266328" y="295125"/>
                  <a:pt x="1265524" y="293968"/>
                  <a:pt x="1264499" y="292673"/>
                </a:cubicBezTo>
                <a:cubicBezTo>
                  <a:pt x="1263473" y="291379"/>
                  <a:pt x="1262032" y="290221"/>
                  <a:pt x="1260203" y="289257"/>
                </a:cubicBezTo>
                <a:cubicBezTo>
                  <a:pt x="1258373" y="288265"/>
                  <a:pt x="1255962" y="287797"/>
                  <a:pt x="1252996" y="287797"/>
                </a:cubicBezTo>
                <a:close/>
                <a:moveTo>
                  <a:pt x="1545997" y="287769"/>
                </a:moveTo>
                <a:cubicBezTo>
                  <a:pt x="1542394" y="287769"/>
                  <a:pt x="1539428" y="288540"/>
                  <a:pt x="1537072" y="290056"/>
                </a:cubicBezTo>
                <a:cubicBezTo>
                  <a:pt x="1534716" y="291598"/>
                  <a:pt x="1532970" y="293610"/>
                  <a:pt x="1531889" y="296144"/>
                </a:cubicBezTo>
                <a:lnTo>
                  <a:pt x="1531307" y="296144"/>
                </a:lnTo>
                <a:lnTo>
                  <a:pt x="1531307" y="288403"/>
                </a:lnTo>
                <a:lnTo>
                  <a:pt x="1522354" y="288403"/>
                </a:lnTo>
                <a:lnTo>
                  <a:pt x="1522354" y="336009"/>
                </a:lnTo>
                <a:lnTo>
                  <a:pt x="1531695" y="336009"/>
                </a:lnTo>
                <a:lnTo>
                  <a:pt x="1531695" y="307743"/>
                </a:lnTo>
                <a:cubicBezTo>
                  <a:pt x="1531695" y="305236"/>
                  <a:pt x="1532166" y="303059"/>
                  <a:pt x="1533136" y="301268"/>
                </a:cubicBezTo>
                <a:cubicBezTo>
                  <a:pt x="1534106" y="299478"/>
                  <a:pt x="1535409" y="298128"/>
                  <a:pt x="1537100" y="297191"/>
                </a:cubicBezTo>
                <a:cubicBezTo>
                  <a:pt x="1538791" y="296254"/>
                  <a:pt x="1540703" y="295786"/>
                  <a:pt x="1542865" y="295786"/>
                </a:cubicBezTo>
                <a:cubicBezTo>
                  <a:pt x="1546025" y="295786"/>
                  <a:pt x="1548519" y="296750"/>
                  <a:pt x="1550321" y="298706"/>
                </a:cubicBezTo>
                <a:cubicBezTo>
                  <a:pt x="1552123" y="300662"/>
                  <a:pt x="1553037" y="303362"/>
                  <a:pt x="1553037" y="306806"/>
                </a:cubicBezTo>
                <a:lnTo>
                  <a:pt x="1553037" y="335981"/>
                </a:lnTo>
                <a:lnTo>
                  <a:pt x="1562295" y="335981"/>
                </a:lnTo>
                <a:lnTo>
                  <a:pt x="1562295" y="305731"/>
                </a:lnTo>
                <a:cubicBezTo>
                  <a:pt x="1562295" y="301819"/>
                  <a:pt x="1561630" y="298513"/>
                  <a:pt x="1560272" y="295841"/>
                </a:cubicBezTo>
                <a:cubicBezTo>
                  <a:pt x="1558914" y="293169"/>
                  <a:pt x="1557029" y="291158"/>
                  <a:pt x="1554562" y="289808"/>
                </a:cubicBezTo>
                <a:cubicBezTo>
                  <a:pt x="1552123" y="288458"/>
                  <a:pt x="1549240" y="287769"/>
                  <a:pt x="1545997" y="287769"/>
                </a:cubicBezTo>
                <a:close/>
                <a:moveTo>
                  <a:pt x="1334790" y="287769"/>
                </a:moveTo>
                <a:cubicBezTo>
                  <a:pt x="1331187" y="287769"/>
                  <a:pt x="1328221" y="288540"/>
                  <a:pt x="1325865" y="290056"/>
                </a:cubicBezTo>
                <a:cubicBezTo>
                  <a:pt x="1323509" y="291598"/>
                  <a:pt x="1321763" y="293610"/>
                  <a:pt x="1320682" y="296144"/>
                </a:cubicBezTo>
                <a:lnTo>
                  <a:pt x="1320100" y="296144"/>
                </a:lnTo>
                <a:lnTo>
                  <a:pt x="1320100" y="288403"/>
                </a:lnTo>
                <a:lnTo>
                  <a:pt x="1311147" y="288403"/>
                </a:lnTo>
                <a:lnTo>
                  <a:pt x="1311147" y="336009"/>
                </a:lnTo>
                <a:lnTo>
                  <a:pt x="1320488" y="336009"/>
                </a:lnTo>
                <a:lnTo>
                  <a:pt x="1320488" y="307743"/>
                </a:lnTo>
                <a:lnTo>
                  <a:pt x="1320405" y="307743"/>
                </a:lnTo>
                <a:cubicBezTo>
                  <a:pt x="1320405" y="305236"/>
                  <a:pt x="1320876" y="303059"/>
                  <a:pt x="1321846" y="301269"/>
                </a:cubicBezTo>
                <a:cubicBezTo>
                  <a:pt x="1322816" y="299478"/>
                  <a:pt x="1324119" y="298128"/>
                  <a:pt x="1325810" y="297191"/>
                </a:cubicBezTo>
                <a:cubicBezTo>
                  <a:pt x="1327500" y="296254"/>
                  <a:pt x="1329413" y="295786"/>
                  <a:pt x="1331575" y="295786"/>
                </a:cubicBezTo>
                <a:cubicBezTo>
                  <a:pt x="1334735" y="295786"/>
                  <a:pt x="1337229" y="296750"/>
                  <a:pt x="1339031" y="298706"/>
                </a:cubicBezTo>
                <a:cubicBezTo>
                  <a:pt x="1340832" y="300662"/>
                  <a:pt x="1341747" y="303362"/>
                  <a:pt x="1341747" y="306806"/>
                </a:cubicBezTo>
                <a:lnTo>
                  <a:pt x="1341747" y="335982"/>
                </a:lnTo>
                <a:lnTo>
                  <a:pt x="1351088" y="335982"/>
                </a:lnTo>
                <a:lnTo>
                  <a:pt x="1351088" y="305732"/>
                </a:lnTo>
                <a:cubicBezTo>
                  <a:pt x="1351088" y="301820"/>
                  <a:pt x="1350423" y="298514"/>
                  <a:pt x="1349065" y="295841"/>
                </a:cubicBezTo>
                <a:cubicBezTo>
                  <a:pt x="1347707" y="293169"/>
                  <a:pt x="1345822" y="291158"/>
                  <a:pt x="1343355" y="289808"/>
                </a:cubicBezTo>
                <a:cubicBezTo>
                  <a:pt x="1340916" y="288458"/>
                  <a:pt x="1338033" y="287769"/>
                  <a:pt x="1334790" y="287769"/>
                </a:cubicBezTo>
                <a:close/>
                <a:moveTo>
                  <a:pt x="1206265" y="287769"/>
                </a:moveTo>
                <a:cubicBezTo>
                  <a:pt x="1202662" y="287769"/>
                  <a:pt x="1199696" y="288540"/>
                  <a:pt x="1197340" y="290056"/>
                </a:cubicBezTo>
                <a:cubicBezTo>
                  <a:pt x="1194984" y="291598"/>
                  <a:pt x="1193238" y="293610"/>
                  <a:pt x="1192157" y="296144"/>
                </a:cubicBezTo>
                <a:lnTo>
                  <a:pt x="1191575" y="296144"/>
                </a:lnTo>
                <a:lnTo>
                  <a:pt x="1191575" y="288403"/>
                </a:lnTo>
                <a:lnTo>
                  <a:pt x="1182622" y="288403"/>
                </a:lnTo>
                <a:lnTo>
                  <a:pt x="1182622" y="336009"/>
                </a:lnTo>
                <a:lnTo>
                  <a:pt x="1191963" y="336009"/>
                </a:lnTo>
                <a:lnTo>
                  <a:pt x="1191963" y="307743"/>
                </a:lnTo>
                <a:lnTo>
                  <a:pt x="1191880" y="307743"/>
                </a:lnTo>
                <a:cubicBezTo>
                  <a:pt x="1191880" y="305236"/>
                  <a:pt x="1192351" y="303059"/>
                  <a:pt x="1193321" y="301269"/>
                </a:cubicBezTo>
                <a:cubicBezTo>
                  <a:pt x="1194291" y="299478"/>
                  <a:pt x="1195594" y="298128"/>
                  <a:pt x="1197285" y="297191"/>
                </a:cubicBezTo>
                <a:cubicBezTo>
                  <a:pt x="1198948" y="296254"/>
                  <a:pt x="1200888" y="295786"/>
                  <a:pt x="1203050" y="295786"/>
                </a:cubicBezTo>
                <a:cubicBezTo>
                  <a:pt x="1206210" y="295786"/>
                  <a:pt x="1208704" y="296750"/>
                  <a:pt x="1210506" y="298706"/>
                </a:cubicBezTo>
                <a:cubicBezTo>
                  <a:pt x="1212307" y="300662"/>
                  <a:pt x="1213222" y="303362"/>
                  <a:pt x="1213222" y="306806"/>
                </a:cubicBezTo>
                <a:lnTo>
                  <a:pt x="1213222" y="335982"/>
                </a:lnTo>
                <a:lnTo>
                  <a:pt x="1222563" y="335982"/>
                </a:lnTo>
                <a:lnTo>
                  <a:pt x="1222563" y="305732"/>
                </a:lnTo>
                <a:cubicBezTo>
                  <a:pt x="1222563" y="301820"/>
                  <a:pt x="1221898" y="298514"/>
                  <a:pt x="1220540" y="295841"/>
                </a:cubicBezTo>
                <a:cubicBezTo>
                  <a:pt x="1219182" y="293169"/>
                  <a:pt x="1217297" y="291158"/>
                  <a:pt x="1214830" y="289808"/>
                </a:cubicBezTo>
                <a:cubicBezTo>
                  <a:pt x="1212391" y="288458"/>
                  <a:pt x="1209508" y="287769"/>
                  <a:pt x="1206265" y="287769"/>
                </a:cubicBezTo>
                <a:close/>
                <a:moveTo>
                  <a:pt x="1488372" y="287687"/>
                </a:moveTo>
                <a:cubicBezTo>
                  <a:pt x="1485572" y="287687"/>
                  <a:pt x="1483050" y="288431"/>
                  <a:pt x="1480833" y="289891"/>
                </a:cubicBezTo>
                <a:cubicBezTo>
                  <a:pt x="1478615" y="291379"/>
                  <a:pt x="1477063" y="293390"/>
                  <a:pt x="1476204" y="295952"/>
                </a:cubicBezTo>
                <a:lnTo>
                  <a:pt x="1475705" y="295952"/>
                </a:lnTo>
                <a:lnTo>
                  <a:pt x="1475705" y="288403"/>
                </a:lnTo>
                <a:lnTo>
                  <a:pt x="1466697" y="288403"/>
                </a:lnTo>
                <a:lnTo>
                  <a:pt x="1466697" y="336009"/>
                </a:lnTo>
                <a:lnTo>
                  <a:pt x="1476038" y="336009"/>
                </a:lnTo>
                <a:lnTo>
                  <a:pt x="1476038" y="306944"/>
                </a:lnTo>
                <a:cubicBezTo>
                  <a:pt x="1476038" y="304878"/>
                  <a:pt x="1476537" y="303032"/>
                  <a:pt x="1477534" y="301407"/>
                </a:cubicBezTo>
                <a:cubicBezTo>
                  <a:pt x="1478532" y="299781"/>
                  <a:pt x="1479890" y="298514"/>
                  <a:pt x="1481609" y="297605"/>
                </a:cubicBezTo>
                <a:cubicBezTo>
                  <a:pt x="1483327" y="296696"/>
                  <a:pt x="1485295" y="296227"/>
                  <a:pt x="1487485" y="296227"/>
                </a:cubicBezTo>
                <a:cubicBezTo>
                  <a:pt x="1488427" y="296227"/>
                  <a:pt x="1489397" y="296310"/>
                  <a:pt x="1490340" y="296420"/>
                </a:cubicBezTo>
                <a:cubicBezTo>
                  <a:pt x="1491310" y="296558"/>
                  <a:pt x="1491975" y="296668"/>
                  <a:pt x="1492335" y="296778"/>
                </a:cubicBezTo>
                <a:lnTo>
                  <a:pt x="1492335" y="287907"/>
                </a:lnTo>
                <a:cubicBezTo>
                  <a:pt x="1491864" y="287852"/>
                  <a:pt x="1491254" y="287797"/>
                  <a:pt x="1490451" y="287742"/>
                </a:cubicBezTo>
                <a:cubicBezTo>
                  <a:pt x="1489647" y="287687"/>
                  <a:pt x="1488954" y="287687"/>
                  <a:pt x="1488372" y="287687"/>
                </a:cubicBezTo>
                <a:close/>
                <a:moveTo>
                  <a:pt x="1130319" y="272535"/>
                </a:moveTo>
                <a:lnTo>
                  <a:pt x="1130319" y="336037"/>
                </a:lnTo>
                <a:lnTo>
                  <a:pt x="1170759" y="336037"/>
                </a:lnTo>
                <a:lnTo>
                  <a:pt x="1170759" y="327772"/>
                </a:lnTo>
                <a:lnTo>
                  <a:pt x="1139965" y="327772"/>
                </a:lnTo>
                <a:lnTo>
                  <a:pt x="1139965" y="308350"/>
                </a:lnTo>
                <a:lnTo>
                  <a:pt x="1168292" y="308350"/>
                </a:lnTo>
                <a:lnTo>
                  <a:pt x="1168292" y="300140"/>
                </a:lnTo>
                <a:lnTo>
                  <a:pt x="1139965" y="300140"/>
                </a:lnTo>
                <a:lnTo>
                  <a:pt x="1139965" y="280800"/>
                </a:lnTo>
                <a:lnTo>
                  <a:pt x="1170371" y="280800"/>
                </a:lnTo>
                <a:lnTo>
                  <a:pt x="1170371" y="272535"/>
                </a:lnTo>
                <a:close/>
                <a:moveTo>
                  <a:pt x="887431" y="272507"/>
                </a:moveTo>
                <a:lnTo>
                  <a:pt x="846964" y="352980"/>
                </a:lnTo>
                <a:lnTo>
                  <a:pt x="892005" y="352980"/>
                </a:lnTo>
                <a:lnTo>
                  <a:pt x="917948" y="301434"/>
                </a:lnTo>
                <a:lnTo>
                  <a:pt x="1024660" y="513871"/>
                </a:lnTo>
                <a:lnTo>
                  <a:pt x="1069673" y="513871"/>
                </a:lnTo>
                <a:lnTo>
                  <a:pt x="948133" y="272507"/>
                </a:lnTo>
                <a:close/>
                <a:moveTo>
                  <a:pt x="563637" y="272479"/>
                </a:moveTo>
                <a:lnTo>
                  <a:pt x="563637" y="352980"/>
                </a:lnTo>
                <a:lnTo>
                  <a:pt x="604132" y="352980"/>
                </a:lnTo>
                <a:lnTo>
                  <a:pt x="604132" y="312730"/>
                </a:lnTo>
                <a:lnTo>
                  <a:pt x="745796" y="312757"/>
                </a:lnTo>
                <a:lnTo>
                  <a:pt x="745796" y="272507"/>
                </a:lnTo>
                <a:close/>
                <a:moveTo>
                  <a:pt x="390736" y="272479"/>
                </a:moveTo>
                <a:cubicBezTo>
                  <a:pt x="324159" y="272479"/>
                  <a:pt x="269999" y="326642"/>
                  <a:pt x="269999" y="393230"/>
                </a:cubicBezTo>
                <a:cubicBezTo>
                  <a:pt x="269999" y="459818"/>
                  <a:pt x="324159" y="513871"/>
                  <a:pt x="390736" y="513871"/>
                </a:cubicBezTo>
                <a:lnTo>
                  <a:pt x="502964" y="513871"/>
                </a:lnTo>
                <a:lnTo>
                  <a:pt x="502964" y="413314"/>
                </a:lnTo>
                <a:lnTo>
                  <a:pt x="563665" y="413314"/>
                </a:lnTo>
                <a:lnTo>
                  <a:pt x="563665" y="513871"/>
                </a:lnTo>
                <a:lnTo>
                  <a:pt x="725562" y="513871"/>
                </a:lnTo>
                <a:lnTo>
                  <a:pt x="745795" y="473648"/>
                </a:lnTo>
                <a:lnTo>
                  <a:pt x="604132" y="473648"/>
                </a:lnTo>
                <a:lnTo>
                  <a:pt x="604132" y="413314"/>
                </a:lnTo>
                <a:lnTo>
                  <a:pt x="816364" y="413314"/>
                </a:lnTo>
                <a:lnTo>
                  <a:pt x="766029" y="513871"/>
                </a:lnTo>
                <a:lnTo>
                  <a:pt x="811042" y="513871"/>
                </a:lnTo>
                <a:lnTo>
                  <a:pt x="861626" y="413314"/>
                </a:lnTo>
                <a:lnTo>
                  <a:pt x="948132" y="413314"/>
                </a:lnTo>
                <a:lnTo>
                  <a:pt x="927898" y="373091"/>
                </a:lnTo>
                <a:lnTo>
                  <a:pt x="401768" y="373091"/>
                </a:lnTo>
                <a:lnTo>
                  <a:pt x="381534" y="413314"/>
                </a:lnTo>
                <a:lnTo>
                  <a:pt x="462469" y="413314"/>
                </a:lnTo>
                <a:lnTo>
                  <a:pt x="462469" y="473648"/>
                </a:lnTo>
                <a:lnTo>
                  <a:pt x="390736" y="473648"/>
                </a:lnTo>
                <a:cubicBezTo>
                  <a:pt x="346388" y="473648"/>
                  <a:pt x="310273" y="437723"/>
                  <a:pt x="310273" y="393230"/>
                </a:cubicBezTo>
                <a:cubicBezTo>
                  <a:pt x="310273" y="348737"/>
                  <a:pt x="346361" y="312729"/>
                  <a:pt x="390736" y="312729"/>
                </a:cubicBezTo>
                <a:lnTo>
                  <a:pt x="482647" y="312729"/>
                </a:lnTo>
                <a:lnTo>
                  <a:pt x="482647" y="272479"/>
                </a:lnTo>
                <a:close/>
                <a:moveTo>
                  <a:pt x="1505141" y="270000"/>
                </a:moveTo>
                <a:cubicBezTo>
                  <a:pt x="1503506" y="270000"/>
                  <a:pt x="1502120" y="270551"/>
                  <a:pt x="1500983" y="271625"/>
                </a:cubicBezTo>
                <a:cubicBezTo>
                  <a:pt x="1499819" y="272700"/>
                  <a:pt x="1499265" y="274022"/>
                  <a:pt x="1499265" y="275538"/>
                </a:cubicBezTo>
                <a:cubicBezTo>
                  <a:pt x="1499265" y="277053"/>
                  <a:pt x="1499847" y="278348"/>
                  <a:pt x="1500983" y="279422"/>
                </a:cubicBezTo>
                <a:cubicBezTo>
                  <a:pt x="1502148" y="280524"/>
                  <a:pt x="1503534" y="281075"/>
                  <a:pt x="1505141" y="281075"/>
                </a:cubicBezTo>
                <a:cubicBezTo>
                  <a:pt x="1506777" y="281075"/>
                  <a:pt x="1508162" y="280524"/>
                  <a:pt x="1509299" y="279450"/>
                </a:cubicBezTo>
                <a:cubicBezTo>
                  <a:pt x="1510463" y="278375"/>
                  <a:pt x="1511017" y="277080"/>
                  <a:pt x="1511017" y="275565"/>
                </a:cubicBezTo>
                <a:cubicBezTo>
                  <a:pt x="1511017" y="274022"/>
                  <a:pt x="1510435" y="272727"/>
                  <a:pt x="1509299" y="271653"/>
                </a:cubicBezTo>
                <a:cubicBezTo>
                  <a:pt x="1508162" y="270551"/>
                  <a:pt x="1506777" y="270000"/>
                  <a:pt x="1505141" y="270000"/>
                </a:cubicBezTo>
                <a:close/>
                <a:moveTo>
                  <a:pt x="1293907" y="270000"/>
                </a:moveTo>
                <a:cubicBezTo>
                  <a:pt x="1292272" y="270000"/>
                  <a:pt x="1290886" y="270551"/>
                  <a:pt x="1289749" y="271625"/>
                </a:cubicBezTo>
                <a:cubicBezTo>
                  <a:pt x="1288585" y="272700"/>
                  <a:pt x="1288031" y="274022"/>
                  <a:pt x="1288031" y="275538"/>
                </a:cubicBezTo>
                <a:cubicBezTo>
                  <a:pt x="1288031" y="277053"/>
                  <a:pt x="1288613" y="278348"/>
                  <a:pt x="1289749" y="279422"/>
                </a:cubicBezTo>
                <a:cubicBezTo>
                  <a:pt x="1290886" y="280524"/>
                  <a:pt x="1292300" y="281075"/>
                  <a:pt x="1293907" y="281075"/>
                </a:cubicBezTo>
                <a:cubicBezTo>
                  <a:pt x="1295543" y="281075"/>
                  <a:pt x="1296928" y="280524"/>
                  <a:pt x="1298065" y="279450"/>
                </a:cubicBezTo>
                <a:cubicBezTo>
                  <a:pt x="1299229" y="278375"/>
                  <a:pt x="1299783" y="277080"/>
                  <a:pt x="1299783" y="275565"/>
                </a:cubicBezTo>
                <a:cubicBezTo>
                  <a:pt x="1299783" y="274022"/>
                  <a:pt x="1299201" y="272727"/>
                  <a:pt x="1298065" y="271653"/>
                </a:cubicBezTo>
                <a:cubicBezTo>
                  <a:pt x="1296928" y="270551"/>
                  <a:pt x="1295543" y="270000"/>
                  <a:pt x="1293907" y="270000"/>
                </a:cubicBezTo>
                <a:close/>
                <a:moveTo>
                  <a:pt x="0" y="0"/>
                </a:moveTo>
                <a:lnTo>
                  <a:pt x="12207875" y="0"/>
                </a:lnTo>
                <a:lnTo>
                  <a:pt x="122078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picture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61DA797-8454-4364-8770-8101AFDD41D0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63525" y="2165734"/>
            <a:ext cx="4032000" cy="1883593"/>
          </a:xfrm>
        </p:spPr>
        <p:txBody>
          <a:bodyPr vert="horz" anchor="b"/>
          <a:lstStyle>
            <a:lvl1pPr rtl="0">
              <a:lnSpc>
                <a:spcPct val="85000"/>
              </a:lnSpc>
              <a:defRPr sz="4800" b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Title </a:t>
            </a:r>
            <a:br>
              <a:rPr lang="en-US"/>
            </a:br>
            <a:r>
              <a:rPr lang="en-US"/>
              <a:t>GEA SANS 48PT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FEAEEB5-CEA6-41B3-AE59-98285007A5A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63525" y="4357103"/>
            <a:ext cx="4032000" cy="246221"/>
          </a:xfrm>
        </p:spPr>
        <p:txBody>
          <a:bodyPr>
            <a:noAutofit/>
          </a:bodyPr>
          <a:lstStyle>
            <a:lvl1pPr marL="0" indent="0" rtl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headline optional Inter Medium 16pt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80E2349F-1508-4D41-A46E-B4E8D0F7F08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63525" y="5688568"/>
            <a:ext cx="4032000" cy="369332"/>
          </a:xfrm>
        </p:spPr>
        <p:txBody>
          <a:bodyPr>
            <a:noAutofit/>
          </a:bodyPr>
          <a:lstStyle>
            <a:lvl1pPr marL="0" indent="0" rtl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uthor, </a:t>
            </a:r>
            <a:br>
              <a:rPr lang="en-US"/>
            </a:br>
            <a:r>
              <a:rPr lang="en-US"/>
              <a:t>Place, Date Inter 12pt</a:t>
            </a:r>
          </a:p>
        </p:txBody>
      </p:sp>
    </p:spTree>
    <p:extLst>
      <p:ext uri="{BB962C8B-B14F-4D97-AF65-F5344CB8AC3E}">
        <p14:creationId xmlns:p14="http://schemas.microsoft.com/office/powerpoint/2010/main" val="791735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ue - 2 column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174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1166495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34406A03-22D6-46B0-A9B8-5AC328A84820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7EF41AE-0DD3-4622-8841-EDD4D148E479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F6E9FC4-687E-4587-9A35-C92C632E9C97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6B5C64B-F7B6-45D8-BD84-3570710AFD24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86368AF6-26B1-4974-B5DD-29AC86DA542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9B746D0C-4727-495D-9630-56B5E27F0AC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347DAC17-C8F9-43B5-9C96-E723FFF6F6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D8CBEAA-AEA6-4AD9-80A8-74188171D8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000" y="2605088"/>
            <a:ext cx="5653087" cy="3344862"/>
          </a:xfrm>
        </p:spPr>
        <p:txBody>
          <a:bodyPr/>
          <a:lstStyle>
            <a:lvl1pPr rtl="0">
              <a:buClr>
                <a:schemeClr val="bg1"/>
              </a:buClr>
              <a:tabLst>
                <a:tab pos="355600" algn="l"/>
              </a:tabLst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971B60F-35FE-4E1E-9785-FF4BF2AA1D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75390" y="2605088"/>
            <a:ext cx="5646735" cy="3338512"/>
          </a:xfrm>
        </p:spPr>
        <p:txBody>
          <a:bodyPr/>
          <a:lstStyle>
            <a:lvl1pPr rtl="0">
              <a:buClr>
                <a:schemeClr val="bg1"/>
              </a:buClr>
              <a:tabLst>
                <a:tab pos="355600" algn="l"/>
              </a:tabLst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3243910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7" orient="horz" pos="374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ue -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3665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403200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34406A03-22D6-46B0-A9B8-5AC328A84820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7EF41AE-0DD3-4622-8841-EDD4D148E479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F6E9FC4-687E-4587-9A35-C92C632E9C97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6B5C64B-F7B6-45D8-BD84-3570710AFD24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86368AF6-26B1-4974-B5DD-29AC86DA542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9B746D0C-4727-495D-9630-56B5E27F0AC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347DAC17-C8F9-43B5-9C96-E723FFF6F6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14A86269-F360-46CC-9E3E-FB55A79D73B1}"/>
              </a:ext>
            </a:extLst>
          </p:cNvPr>
          <p:cNvSpPr/>
          <p:nvPr userDrawn="1"/>
        </p:nvSpPr>
        <p:spPr bwMode="invGray">
          <a:xfrm>
            <a:off x="4591254" y="-1"/>
            <a:ext cx="7602228" cy="6858001"/>
          </a:xfrm>
          <a:custGeom>
            <a:avLst/>
            <a:gdLst>
              <a:gd name="connsiteX0" fmla="*/ 3293816 w 7602228"/>
              <a:gd name="connsiteY0" fmla="*/ 4038523 h 6858001"/>
              <a:gd name="connsiteX1" fmla="*/ 4309498 w 7602228"/>
              <a:gd name="connsiteY1" fmla="*/ 4038523 h 6858001"/>
              <a:gd name="connsiteX2" fmla="*/ 4309498 w 7602228"/>
              <a:gd name="connsiteY2" fmla="*/ 6858001 h 6858001"/>
              <a:gd name="connsiteX3" fmla="*/ 3293816 w 7602228"/>
              <a:gd name="connsiteY3" fmla="*/ 6858001 h 6858001"/>
              <a:gd name="connsiteX4" fmla="*/ 1268071 w 7602228"/>
              <a:gd name="connsiteY4" fmla="*/ 3540455 h 6858001"/>
              <a:gd name="connsiteX5" fmla="*/ 2395990 w 7602228"/>
              <a:gd name="connsiteY5" fmla="*/ 3540455 h 6858001"/>
              <a:gd name="connsiteX6" fmla="*/ 1128430 w 7602228"/>
              <a:gd name="connsiteY6" fmla="*/ 6074552 h 6858001"/>
              <a:gd name="connsiteX7" fmla="*/ 0 w 7602228"/>
              <a:gd name="connsiteY7" fmla="*/ 6074552 h 6858001"/>
              <a:gd name="connsiteX8" fmla="*/ 3037787 w 7602228"/>
              <a:gd name="connsiteY8" fmla="*/ 0 h 6858001"/>
              <a:gd name="connsiteX9" fmla="*/ 4565464 w 7602228"/>
              <a:gd name="connsiteY9" fmla="*/ 0 h 6858001"/>
              <a:gd name="connsiteX10" fmla="*/ 7602228 w 7602228"/>
              <a:gd name="connsiteY10" fmla="*/ 6076086 h 6858001"/>
              <a:gd name="connsiteX11" fmla="*/ 6474309 w 7602228"/>
              <a:gd name="connsiteY11" fmla="*/ 6076086 h 6858001"/>
              <a:gd name="connsiteX12" fmla="*/ 3801657 w 7602228"/>
              <a:gd name="connsiteY12" fmla="*/ 730206 h 6858001"/>
              <a:gd name="connsiteX13" fmla="*/ 3154686 w 7602228"/>
              <a:gd name="connsiteY13" fmla="*/ 2023126 h 6858001"/>
              <a:gd name="connsiteX14" fmla="*/ 2026256 w 7602228"/>
              <a:gd name="connsiteY14" fmla="*/ 202312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602228" h="6858001">
                <a:moveTo>
                  <a:pt x="3293816" y="4038523"/>
                </a:moveTo>
                <a:lnTo>
                  <a:pt x="4309498" y="4038523"/>
                </a:lnTo>
                <a:lnTo>
                  <a:pt x="4309498" y="6858001"/>
                </a:lnTo>
                <a:lnTo>
                  <a:pt x="3293816" y="6858001"/>
                </a:lnTo>
                <a:close/>
                <a:moveTo>
                  <a:pt x="1268071" y="3540455"/>
                </a:moveTo>
                <a:lnTo>
                  <a:pt x="2395990" y="3540455"/>
                </a:lnTo>
                <a:lnTo>
                  <a:pt x="1128430" y="6074552"/>
                </a:lnTo>
                <a:lnTo>
                  <a:pt x="0" y="6074552"/>
                </a:lnTo>
                <a:close/>
                <a:moveTo>
                  <a:pt x="3037787" y="0"/>
                </a:moveTo>
                <a:lnTo>
                  <a:pt x="4565464" y="0"/>
                </a:lnTo>
                <a:lnTo>
                  <a:pt x="7602228" y="6076086"/>
                </a:lnTo>
                <a:lnTo>
                  <a:pt x="6474309" y="6076086"/>
                </a:lnTo>
                <a:lnTo>
                  <a:pt x="3801657" y="730206"/>
                </a:lnTo>
                <a:lnTo>
                  <a:pt x="3154686" y="2023126"/>
                </a:lnTo>
                <a:lnTo>
                  <a:pt x="2026256" y="2023126"/>
                </a:lnTo>
                <a:close/>
              </a:path>
            </a:pathLst>
          </a:custGeom>
          <a:gradFill>
            <a:gsLst>
              <a:gs pos="10000">
                <a:schemeClr val="accent1"/>
              </a:gs>
              <a:gs pos="90000">
                <a:schemeClr val="accent6"/>
              </a:gs>
            </a:gsLst>
            <a:lin ang="18900000" scaled="1"/>
          </a:gradFill>
          <a:ln w="79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CF1D41A-0362-4CFF-8DD5-074C1D6936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000" y="2605088"/>
            <a:ext cx="4032000" cy="3344862"/>
          </a:xfrm>
        </p:spPr>
        <p:txBody>
          <a:bodyPr/>
          <a:lstStyle>
            <a:lvl1pPr rtl="0">
              <a:buClr>
                <a:schemeClr val="bg1"/>
              </a:buClr>
              <a:tabLst>
                <a:tab pos="355600" algn="l"/>
              </a:tabLst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1758567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53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7" orient="horz" pos="374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ue - small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A35F7CB-B3C4-4081-BF51-7688BA186A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29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A35F7CB-B3C4-4081-BF51-7688BA186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2DE84A-653F-40C4-B59B-7C286058B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000" y="1504673"/>
            <a:ext cx="11664950" cy="627864"/>
          </a:xfrm>
        </p:spPr>
        <p:txBody>
          <a:bodyPr vert="horz"/>
          <a:lstStyle>
            <a:lvl1pPr rtl="0">
              <a:lnSpc>
                <a:spcPct val="85000"/>
              </a:lnSpc>
              <a:defRPr sz="4800" b="0" cap="all" baseline="0">
                <a:solidFill>
                  <a:schemeClr val="bg1"/>
                </a:solidFill>
                <a:latin typeface="GEA Sans Bold" panose="00000500000000000000" pitchFamily="2" charset="0"/>
              </a:defRPr>
            </a:lvl1pPr>
          </a:lstStyle>
          <a:p>
            <a:r>
              <a:rPr lang="en-US"/>
              <a:t>AGENDA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34406A03-22D6-46B0-A9B8-5AC328A84820}"/>
              </a:ext>
            </a:extLst>
          </p:cNvPr>
          <p:cNvGrpSpPr/>
          <p:nvPr userDrawn="1"/>
        </p:nvGrpSpPr>
        <p:grpSpPr bwMode="black">
          <a:xfrm>
            <a:off x="269875" y="6525716"/>
            <a:ext cx="485623" cy="147421"/>
            <a:chOff x="269875" y="6525716"/>
            <a:chExt cx="485623" cy="147421"/>
          </a:xfrm>
          <a:solidFill>
            <a:schemeClr val="bg1"/>
          </a:solidFill>
        </p:grpSpPr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C7EF41AE-0DD3-4622-8841-EDD4D148E479}"/>
                </a:ext>
              </a:extLst>
            </p:cNvPr>
            <p:cNvSpPr/>
            <p:nvPr/>
          </p:nvSpPr>
          <p:spPr bwMode="black"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2F6E9FC4-687E-4587-9A35-C92C632E9C97}"/>
                </a:ext>
              </a:extLst>
            </p:cNvPr>
            <p:cNvSpPr/>
            <p:nvPr/>
          </p:nvSpPr>
          <p:spPr bwMode="black"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66B5C64B-F7B6-45D8-BD84-3570710AFD24}"/>
                </a:ext>
              </a:extLst>
            </p:cNvPr>
            <p:cNvSpPr/>
            <p:nvPr/>
          </p:nvSpPr>
          <p:spPr bwMode="black"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86368AF6-26B1-4974-B5DD-29AC86DA542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9B746D0C-4727-495D-9630-56B5E27F0AC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347DAC17-C8F9-43B5-9C96-E723FFF6F6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8" name="Grafik 2">
            <a:extLst>
              <a:ext uri="{FF2B5EF4-FFF2-40B4-BE49-F238E27FC236}">
                <a16:creationId xmlns:a16="http://schemas.microsoft.com/office/drawing/2014/main" id="{F834D6E4-1C6E-4069-9F58-E568CAF900C2}"/>
              </a:ext>
            </a:extLst>
          </p:cNvPr>
          <p:cNvSpPr>
            <a:spLocks/>
          </p:cNvSpPr>
          <p:nvPr userDrawn="1"/>
        </p:nvSpPr>
        <p:spPr>
          <a:xfrm>
            <a:off x="270001" y="2605389"/>
            <a:ext cx="1684964" cy="1115585"/>
          </a:xfrm>
          <a:custGeom>
            <a:avLst/>
            <a:gdLst>
              <a:gd name="connsiteX0" fmla="*/ 228596 w 228600"/>
              <a:gd name="connsiteY0" fmla="*/ 60095 h 151352"/>
              <a:gd name="connsiteX1" fmla="*/ 228596 w 228600"/>
              <a:gd name="connsiteY1" fmla="*/ 90384 h 151352"/>
              <a:gd name="connsiteX2" fmla="*/ 109153 w 228600"/>
              <a:gd name="connsiteY2" fmla="*/ 151344 h 151352"/>
              <a:gd name="connsiteX3" fmla="*/ 100390 w 228600"/>
              <a:gd name="connsiteY3" fmla="*/ 134390 h 151352"/>
              <a:gd name="connsiteX4" fmla="*/ 209546 w 228600"/>
              <a:gd name="connsiteY4" fmla="*/ 78668 h 151352"/>
              <a:gd name="connsiteX5" fmla="*/ 209546 w 228600"/>
              <a:gd name="connsiteY5" fmla="*/ 71810 h 151352"/>
              <a:gd name="connsiteX6" fmla="*/ 183448 w 228600"/>
              <a:gd name="connsiteY6" fmla="*/ 58666 h 151352"/>
              <a:gd name="connsiteX7" fmla="*/ 191925 w 228600"/>
              <a:gd name="connsiteY7" fmla="*/ 41711 h 151352"/>
              <a:gd name="connsiteX8" fmla="*/ 158111 w 228600"/>
              <a:gd name="connsiteY8" fmla="*/ 24662 h 151352"/>
              <a:gd name="connsiteX9" fmla="*/ 109057 w 228600"/>
              <a:gd name="connsiteY9" fmla="*/ -8 h 151352"/>
              <a:gd name="connsiteX10" fmla="*/ 100485 w 228600"/>
              <a:gd name="connsiteY10" fmla="*/ 17042 h 151352"/>
              <a:gd name="connsiteX11" fmla="*/ 149539 w 228600"/>
              <a:gd name="connsiteY11" fmla="*/ 41711 h 151352"/>
              <a:gd name="connsiteX12" fmla="*/ 133346 w 228600"/>
              <a:gd name="connsiteY12" fmla="*/ 66191 h 151352"/>
              <a:gd name="connsiteX13" fmla="*/ -4 w 228600"/>
              <a:gd name="connsiteY13" fmla="*/ 66191 h 151352"/>
              <a:gd name="connsiteX14" fmla="*/ -4 w 228600"/>
              <a:gd name="connsiteY14" fmla="*/ 85241 h 151352"/>
              <a:gd name="connsiteX15" fmla="*/ 133346 w 228600"/>
              <a:gd name="connsiteY15" fmla="*/ 85241 h 151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8600" h="151352">
                <a:moveTo>
                  <a:pt x="228596" y="60095"/>
                </a:moveTo>
                <a:lnTo>
                  <a:pt x="228596" y="90384"/>
                </a:lnTo>
                <a:lnTo>
                  <a:pt x="109153" y="151344"/>
                </a:lnTo>
                <a:lnTo>
                  <a:pt x="100390" y="134390"/>
                </a:lnTo>
                <a:lnTo>
                  <a:pt x="209546" y="78668"/>
                </a:lnTo>
                <a:lnTo>
                  <a:pt x="209546" y="71810"/>
                </a:lnTo>
                <a:lnTo>
                  <a:pt x="183448" y="58666"/>
                </a:lnTo>
                <a:lnTo>
                  <a:pt x="191925" y="41711"/>
                </a:lnTo>
                <a:close/>
                <a:moveTo>
                  <a:pt x="158111" y="24662"/>
                </a:moveTo>
                <a:lnTo>
                  <a:pt x="109057" y="-8"/>
                </a:lnTo>
                <a:lnTo>
                  <a:pt x="100485" y="17042"/>
                </a:lnTo>
                <a:lnTo>
                  <a:pt x="149539" y="41711"/>
                </a:lnTo>
                <a:close/>
                <a:moveTo>
                  <a:pt x="133346" y="66191"/>
                </a:moveTo>
                <a:lnTo>
                  <a:pt x="-4" y="66191"/>
                </a:lnTo>
                <a:lnTo>
                  <a:pt x="-4" y="85241"/>
                </a:lnTo>
                <a:lnTo>
                  <a:pt x="133346" y="85241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4D5CC2-EDB8-4EBC-A5BA-A7F4D2A4A5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59263" y="2605388"/>
            <a:ext cx="5652000" cy="3344561"/>
          </a:xfrm>
        </p:spPr>
        <p:txBody>
          <a:bodyPr/>
          <a:lstStyle>
            <a:lvl1pPr rtl="0">
              <a:buClr>
                <a:schemeClr val="bg1"/>
              </a:buClr>
              <a:tabLst>
                <a:tab pos="355600" algn="l"/>
              </a:tabLst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</p:spTree>
    <p:extLst>
      <p:ext uri="{BB962C8B-B14F-4D97-AF65-F5344CB8AC3E}">
        <p14:creationId xmlns:p14="http://schemas.microsoft.com/office/powerpoint/2010/main" val="410165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683" userDrawn="1">
          <p15:clr>
            <a:srgbClr val="FBAE40"/>
          </p15:clr>
        </p15:guide>
        <p15:guide id="3" pos="2479" userDrawn="1">
          <p15:clr>
            <a:srgbClr val="FBAE40"/>
          </p15:clr>
        </p15:guide>
        <p15:guide id="7" orient="horz" pos="374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6C0CEA4-5BC5-41CC-9E9B-9E5CD91A4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623435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9" imgW="344" imgH="345" progId="TCLayout.ActiveDocument.1">
                  <p:embed/>
                </p:oleObj>
              </mc:Choice>
              <mc:Fallback>
                <p:oleObj name="think-cell Folie" r:id="rId49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6C0CEA4-5BC5-41CC-9E9B-9E5CD91A4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EF332DA-E738-431B-8AE7-A7DEE3EB9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5" y="229880"/>
            <a:ext cx="116649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Headline Inter Medium bold 30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8E99D9-CA96-4FD7-8A92-0558BC525A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3525" y="1449388"/>
            <a:ext cx="11664950" cy="45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First text level Inter, 14pt</a:t>
            </a:r>
          </a:p>
          <a:p>
            <a:pPr lvl="1"/>
            <a:r>
              <a:rPr lang="en-US" noProof="0"/>
              <a:t>Second text level Inter, 14pt</a:t>
            </a:r>
          </a:p>
          <a:p>
            <a:pPr lvl="2"/>
            <a:r>
              <a:rPr lang="en-US" noProof="0"/>
              <a:t>Third text level Inter, 14pt</a:t>
            </a:r>
          </a:p>
          <a:p>
            <a:pPr lvl="3"/>
            <a:r>
              <a:rPr lang="en-US" noProof="0"/>
              <a:t>Fourth text level Inter, 14pt</a:t>
            </a:r>
          </a:p>
          <a:p>
            <a:pPr lvl="4"/>
            <a:r>
              <a:rPr lang="en-US" noProof="0"/>
              <a:t>Fifth text level Inter, 14pt</a:t>
            </a:r>
          </a:p>
          <a:p>
            <a:pPr lvl="5"/>
            <a:r>
              <a:rPr lang="en-US" noProof="0"/>
              <a:t>Sixth text level Inter, 14pt</a:t>
            </a:r>
          </a:p>
          <a:p>
            <a:pPr lvl="6"/>
            <a:r>
              <a:rPr lang="en-US" noProof="0"/>
              <a:t>Eight text level Inter, 14pt</a:t>
            </a:r>
          </a:p>
          <a:p>
            <a:pPr lvl="7"/>
            <a:r>
              <a:rPr lang="en-US" noProof="0"/>
              <a:t>Ninth text level Inter, 14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501FDD-A44D-476D-8AEB-D86C140562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35756" y="6584135"/>
            <a:ext cx="93600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F644C6-3665-4359-A085-B5D0334DBF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38597" y="6584135"/>
            <a:ext cx="4114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rtl="0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text with »Insert Header and Footer«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6434587-7614-47E7-B2CA-70D35FE771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475" y="6584135"/>
            <a:ext cx="28800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7D3B735A-0712-4989-8931-598C2A0907B8}" type="slidenum">
              <a:rPr lang="en-US" smtClean="0"/>
              <a:pPr/>
              <a:t>‹Nr.›</a:t>
            </a:fld>
            <a:endParaRPr lang="en-US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AFFA33C5-4836-4BB5-AFB0-C58265646AE1}"/>
              </a:ext>
            </a:extLst>
          </p:cNvPr>
          <p:cNvGrpSpPr/>
          <p:nvPr userDrawn="1"/>
        </p:nvGrpSpPr>
        <p:grpSpPr>
          <a:xfrm>
            <a:off x="269875" y="6525716"/>
            <a:ext cx="485623" cy="147421"/>
            <a:chOff x="269875" y="6525716"/>
            <a:chExt cx="485623" cy="147421"/>
          </a:xfrm>
          <a:solidFill>
            <a:schemeClr val="accent1"/>
          </a:solidFill>
        </p:grpSpPr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25B01271-200E-4F33-B311-5D88977B6023}"/>
                </a:ext>
              </a:extLst>
            </p:cNvPr>
            <p:cNvSpPr/>
            <p:nvPr/>
          </p:nvSpPr>
          <p:spPr>
            <a:xfrm>
              <a:off x="620244" y="6525737"/>
              <a:ext cx="135254" cy="147399"/>
            </a:xfrm>
            <a:custGeom>
              <a:avLst/>
              <a:gdLst>
                <a:gd name="connsiteX0" fmla="*/ 61455 w 135254"/>
                <a:gd name="connsiteY0" fmla="*/ 0 h 147399"/>
                <a:gd name="connsiteX1" fmla="*/ 24578 w 135254"/>
                <a:gd name="connsiteY1" fmla="*/ 0 h 147399"/>
                <a:gd name="connsiteX2" fmla="*/ 0 w 135254"/>
                <a:gd name="connsiteY2" fmla="*/ 49133 h 147399"/>
                <a:gd name="connsiteX3" fmla="*/ 27345 w 135254"/>
                <a:gd name="connsiteY3" fmla="*/ 49133 h 147399"/>
                <a:gd name="connsiteX4" fmla="*/ 43115 w 135254"/>
                <a:gd name="connsiteY4" fmla="*/ 17673 h 147399"/>
                <a:gd name="connsiteX5" fmla="*/ 107909 w 135254"/>
                <a:gd name="connsiteY5" fmla="*/ 147399 h 147399"/>
                <a:gd name="connsiteX6" fmla="*/ 135254 w 135254"/>
                <a:gd name="connsiteY6" fmla="*/ 147399 h 147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54" h="147399">
                  <a:moveTo>
                    <a:pt x="61455" y="0"/>
                  </a:moveTo>
                  <a:lnTo>
                    <a:pt x="24578" y="0"/>
                  </a:lnTo>
                  <a:lnTo>
                    <a:pt x="0" y="49133"/>
                  </a:lnTo>
                  <a:lnTo>
                    <a:pt x="27345" y="49133"/>
                  </a:lnTo>
                  <a:lnTo>
                    <a:pt x="43115" y="17673"/>
                  </a:lnTo>
                  <a:lnTo>
                    <a:pt x="107909" y="147399"/>
                  </a:lnTo>
                  <a:lnTo>
                    <a:pt x="135254" y="14739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2576AED9-BBAC-4185-A611-167F3D7F262F}"/>
                </a:ext>
              </a:extLst>
            </p:cNvPr>
            <p:cNvSpPr/>
            <p:nvPr/>
          </p:nvSpPr>
          <p:spPr>
            <a:xfrm>
              <a:off x="269875" y="6525716"/>
              <a:ext cx="411802" cy="147421"/>
            </a:xfrm>
            <a:custGeom>
              <a:avLst/>
              <a:gdLst>
                <a:gd name="connsiteX0" fmla="*/ 399525 w 411802"/>
                <a:gd name="connsiteY0" fmla="*/ 61449 h 147421"/>
                <a:gd name="connsiteX1" fmla="*/ 80015 w 411802"/>
                <a:gd name="connsiteY1" fmla="*/ 61427 h 147421"/>
                <a:gd name="connsiteX2" fmla="*/ 67737 w 411802"/>
                <a:gd name="connsiteY2" fmla="*/ 85994 h 147421"/>
                <a:gd name="connsiteX3" fmla="*/ 116892 w 411802"/>
                <a:gd name="connsiteY3" fmla="*/ 85994 h 147421"/>
                <a:gd name="connsiteX4" fmla="*/ 116892 w 411802"/>
                <a:gd name="connsiteY4" fmla="*/ 122833 h 147421"/>
                <a:gd name="connsiteX5" fmla="*/ 73316 w 411802"/>
                <a:gd name="connsiteY5" fmla="*/ 122833 h 147421"/>
                <a:gd name="connsiteX6" fmla="*/ 24468 w 411802"/>
                <a:gd name="connsiteY6" fmla="*/ 73722 h 147421"/>
                <a:gd name="connsiteX7" fmla="*/ 73316 w 411802"/>
                <a:gd name="connsiteY7" fmla="*/ 24589 h 147421"/>
                <a:gd name="connsiteX8" fmla="*/ 129126 w 411802"/>
                <a:gd name="connsiteY8" fmla="*/ 24589 h 147421"/>
                <a:gd name="connsiteX9" fmla="*/ 129126 w 411802"/>
                <a:gd name="connsiteY9" fmla="*/ 0 h 147421"/>
                <a:gd name="connsiteX10" fmla="*/ 73316 w 411802"/>
                <a:gd name="connsiteY10" fmla="*/ 0 h 147421"/>
                <a:gd name="connsiteX11" fmla="*/ 0 w 411802"/>
                <a:gd name="connsiteY11" fmla="*/ 73744 h 147421"/>
                <a:gd name="connsiteX12" fmla="*/ 73316 w 411802"/>
                <a:gd name="connsiteY12" fmla="*/ 147421 h 147421"/>
                <a:gd name="connsiteX13" fmla="*/ 141470 w 411802"/>
                <a:gd name="connsiteY13" fmla="*/ 147421 h 147421"/>
                <a:gd name="connsiteX14" fmla="*/ 141470 w 411802"/>
                <a:gd name="connsiteY14" fmla="*/ 85994 h 147421"/>
                <a:gd name="connsiteX15" fmla="*/ 178326 w 411802"/>
                <a:gd name="connsiteY15" fmla="*/ 85994 h 147421"/>
                <a:gd name="connsiteX16" fmla="*/ 178326 w 411802"/>
                <a:gd name="connsiteY16" fmla="*/ 147399 h 147421"/>
                <a:gd name="connsiteX17" fmla="*/ 276636 w 411802"/>
                <a:gd name="connsiteY17" fmla="*/ 147399 h 147421"/>
                <a:gd name="connsiteX18" fmla="*/ 288914 w 411802"/>
                <a:gd name="connsiteY18" fmla="*/ 122833 h 147421"/>
                <a:gd name="connsiteX19" fmla="*/ 202903 w 411802"/>
                <a:gd name="connsiteY19" fmla="*/ 122833 h 147421"/>
                <a:gd name="connsiteX20" fmla="*/ 202903 w 411802"/>
                <a:gd name="connsiteY20" fmla="*/ 85994 h 147421"/>
                <a:gd name="connsiteX21" fmla="*/ 331788 w 411802"/>
                <a:gd name="connsiteY21" fmla="*/ 85994 h 147421"/>
                <a:gd name="connsiteX22" fmla="*/ 301214 w 411802"/>
                <a:gd name="connsiteY22" fmla="*/ 147399 h 147421"/>
                <a:gd name="connsiteX23" fmla="*/ 328537 w 411802"/>
                <a:gd name="connsiteY23" fmla="*/ 147399 h 147421"/>
                <a:gd name="connsiteX24" fmla="*/ 359265 w 411802"/>
                <a:gd name="connsiteY24" fmla="*/ 85994 h 147421"/>
                <a:gd name="connsiteX25" fmla="*/ 411803 w 411802"/>
                <a:gd name="connsiteY25" fmla="*/ 85994 h 147421"/>
                <a:gd name="connsiteX26" fmla="*/ 399525 w 411802"/>
                <a:gd name="connsiteY26" fmla="*/ 61449 h 14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1802" h="147421">
                  <a:moveTo>
                    <a:pt x="399525" y="61449"/>
                  </a:moveTo>
                  <a:lnTo>
                    <a:pt x="80015" y="61427"/>
                  </a:lnTo>
                  <a:lnTo>
                    <a:pt x="67737" y="85994"/>
                  </a:lnTo>
                  <a:lnTo>
                    <a:pt x="116892" y="85994"/>
                  </a:lnTo>
                  <a:lnTo>
                    <a:pt x="116892" y="122833"/>
                  </a:lnTo>
                  <a:lnTo>
                    <a:pt x="73316" y="122833"/>
                  </a:lnTo>
                  <a:cubicBezTo>
                    <a:pt x="46388" y="122833"/>
                    <a:pt x="24468" y="100901"/>
                    <a:pt x="24468" y="73722"/>
                  </a:cubicBezTo>
                  <a:cubicBezTo>
                    <a:pt x="24468" y="46543"/>
                    <a:pt x="46388" y="24589"/>
                    <a:pt x="73316" y="24589"/>
                  </a:cubicBezTo>
                  <a:lnTo>
                    <a:pt x="129126" y="24589"/>
                  </a:lnTo>
                  <a:lnTo>
                    <a:pt x="129126" y="0"/>
                  </a:lnTo>
                  <a:lnTo>
                    <a:pt x="73316" y="0"/>
                  </a:lnTo>
                  <a:cubicBezTo>
                    <a:pt x="32902" y="0"/>
                    <a:pt x="0" y="33085"/>
                    <a:pt x="0" y="73744"/>
                  </a:cubicBezTo>
                  <a:cubicBezTo>
                    <a:pt x="0" y="114380"/>
                    <a:pt x="32902" y="147421"/>
                    <a:pt x="73316" y="147421"/>
                  </a:cubicBezTo>
                  <a:lnTo>
                    <a:pt x="141470" y="147421"/>
                  </a:lnTo>
                  <a:lnTo>
                    <a:pt x="141470" y="85994"/>
                  </a:lnTo>
                  <a:lnTo>
                    <a:pt x="178326" y="85994"/>
                  </a:lnTo>
                  <a:lnTo>
                    <a:pt x="178326" y="147399"/>
                  </a:lnTo>
                  <a:lnTo>
                    <a:pt x="276636" y="147399"/>
                  </a:lnTo>
                  <a:lnTo>
                    <a:pt x="288914" y="122833"/>
                  </a:lnTo>
                  <a:lnTo>
                    <a:pt x="202903" y="122833"/>
                  </a:lnTo>
                  <a:lnTo>
                    <a:pt x="202903" y="85994"/>
                  </a:lnTo>
                  <a:lnTo>
                    <a:pt x="331788" y="85994"/>
                  </a:lnTo>
                  <a:lnTo>
                    <a:pt x="301214" y="147399"/>
                  </a:lnTo>
                  <a:lnTo>
                    <a:pt x="328537" y="147399"/>
                  </a:lnTo>
                  <a:lnTo>
                    <a:pt x="359265" y="85994"/>
                  </a:lnTo>
                  <a:lnTo>
                    <a:pt x="411803" y="85994"/>
                  </a:lnTo>
                  <a:lnTo>
                    <a:pt x="399525" y="61449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D79D4FC7-7AE3-474B-8E96-1D9EB22499ED}"/>
                </a:ext>
              </a:extLst>
            </p:cNvPr>
            <p:cNvSpPr/>
            <p:nvPr/>
          </p:nvSpPr>
          <p:spPr>
            <a:xfrm>
              <a:off x="448200" y="6525716"/>
              <a:ext cx="110610" cy="49155"/>
            </a:xfrm>
            <a:custGeom>
              <a:avLst/>
              <a:gdLst>
                <a:gd name="connsiteX0" fmla="*/ 24578 w 110610"/>
                <a:gd name="connsiteY0" fmla="*/ 24589 h 49155"/>
                <a:gd name="connsiteX1" fmla="*/ 110611 w 110610"/>
                <a:gd name="connsiteY1" fmla="*/ 24589 h 49155"/>
                <a:gd name="connsiteX2" fmla="*/ 110611 w 110610"/>
                <a:gd name="connsiteY2" fmla="*/ 22 h 49155"/>
                <a:gd name="connsiteX3" fmla="*/ 0 w 110610"/>
                <a:gd name="connsiteY3" fmla="*/ 0 h 49155"/>
                <a:gd name="connsiteX4" fmla="*/ 0 w 110610"/>
                <a:gd name="connsiteY4" fmla="*/ 49155 h 49155"/>
                <a:gd name="connsiteX5" fmla="*/ 24578 w 110610"/>
                <a:gd name="connsiteY5" fmla="*/ 49155 h 49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10" h="49155">
                  <a:moveTo>
                    <a:pt x="24578" y="24589"/>
                  </a:moveTo>
                  <a:lnTo>
                    <a:pt x="110611" y="24589"/>
                  </a:lnTo>
                  <a:lnTo>
                    <a:pt x="110611" y="22"/>
                  </a:lnTo>
                  <a:lnTo>
                    <a:pt x="0" y="0"/>
                  </a:lnTo>
                  <a:lnTo>
                    <a:pt x="0" y="49155"/>
                  </a:lnTo>
                  <a:lnTo>
                    <a:pt x="24578" y="49155"/>
                  </a:lnTo>
                  <a:close/>
                </a:path>
              </a:pathLst>
            </a:custGeom>
            <a:grpFill/>
            <a:ln w="215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7" name="MSIPCMContentMarking" descr="{&quot;HashCode&quot;:-2125275679,&quot;Placement&quot;:&quot;Footer&quot;,&quot;Top&quot;:524.1047,&quot;Left&quot;:0.0,&quot;SlideWidth&quot;:960,&quot;SlideHeight&quot;:540}">
            <a:extLst>
              <a:ext uri="{FF2B5EF4-FFF2-40B4-BE49-F238E27FC236}">
                <a16:creationId xmlns:a16="http://schemas.microsoft.com/office/drawing/2014/main" id="{B6218EFD-EF7E-46AE-BFDA-63BC44DE205B}"/>
              </a:ext>
            </a:extLst>
          </p:cNvPr>
          <p:cNvSpPr txBox="1"/>
          <p:nvPr userDrawn="1"/>
        </p:nvSpPr>
        <p:spPr>
          <a:xfrm>
            <a:off x="0" y="6656129"/>
            <a:ext cx="6401459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en-US" sz="700">
                <a:solidFill>
                  <a:srgbClr val="0303B8"/>
                </a:solidFill>
                <a:latin typeface="Arial" panose="020B0604020202020204" pitchFamily="34" charset="0"/>
              </a:rPr>
              <a:t>                                                                                                                                                                                                                         GEA INTERNAL</a:t>
            </a:r>
            <a:endParaRPr lang="en-US" sz="700" err="1">
              <a:solidFill>
                <a:srgbClr val="0303B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1226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670" r:id="rId7"/>
    <p:sldLayoutId id="2147483672" r:id="rId8"/>
    <p:sldLayoutId id="2147483673" r:id="rId9"/>
    <p:sldLayoutId id="2147483701" r:id="rId10"/>
    <p:sldLayoutId id="2147483702" r:id="rId11"/>
    <p:sldLayoutId id="2147483703" r:id="rId12"/>
    <p:sldLayoutId id="2147483661" r:id="rId13"/>
    <p:sldLayoutId id="2147483662" r:id="rId14"/>
    <p:sldLayoutId id="2147483665" r:id="rId15"/>
    <p:sldLayoutId id="2147483663" r:id="rId16"/>
    <p:sldLayoutId id="2147483666" r:id="rId17"/>
    <p:sldLayoutId id="2147483667" r:id="rId18"/>
    <p:sldLayoutId id="2147483668" r:id="rId19"/>
    <p:sldLayoutId id="2147483669" r:id="rId20"/>
    <p:sldLayoutId id="2147483664" r:id="rId21"/>
    <p:sldLayoutId id="2147483680" r:id="rId22"/>
    <p:sldLayoutId id="2147483679" r:id="rId23"/>
    <p:sldLayoutId id="2147483678" r:id="rId24"/>
    <p:sldLayoutId id="2147483684" r:id="rId25"/>
    <p:sldLayoutId id="2147483685" r:id="rId26"/>
    <p:sldLayoutId id="2147483686" r:id="rId27"/>
    <p:sldLayoutId id="2147483687" r:id="rId28"/>
    <p:sldLayoutId id="2147483688" r:id="rId29"/>
    <p:sldLayoutId id="2147483689" r:id="rId30"/>
    <p:sldLayoutId id="2147483692" r:id="rId31"/>
    <p:sldLayoutId id="2147483690" r:id="rId32"/>
    <p:sldLayoutId id="2147483693" r:id="rId33"/>
    <p:sldLayoutId id="2147483691" r:id="rId34"/>
    <p:sldLayoutId id="2147483694" r:id="rId35"/>
    <p:sldLayoutId id="2147483695" r:id="rId36"/>
    <p:sldLayoutId id="2147483696" r:id="rId37"/>
    <p:sldLayoutId id="2147483681" r:id="rId38"/>
    <p:sldLayoutId id="2147483704" r:id="rId39"/>
    <p:sldLayoutId id="2147483682" r:id="rId40"/>
    <p:sldLayoutId id="2147483705" r:id="rId41"/>
    <p:sldLayoutId id="2147483697" r:id="rId42"/>
    <p:sldLayoutId id="2147483698" r:id="rId43"/>
    <p:sldLayoutId id="2147483699" r:id="rId44"/>
    <p:sldLayoutId id="2147483700" r:id="rId45"/>
    <p:sldLayoutId id="2147483711" r:id="rId46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6" userDrawn="1">
          <p15:clr>
            <a:srgbClr val="F26B43"/>
          </p15:clr>
        </p15:guide>
        <p15:guide id="3" pos="7514" userDrawn="1">
          <p15:clr>
            <a:srgbClr val="F26B43"/>
          </p15:clr>
        </p15:guide>
        <p15:guide id="4" orient="horz" pos="1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E00E99-7A6D-DA1F-8608-16BAE8238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964" y="2158114"/>
            <a:ext cx="5791836" cy="1883593"/>
          </a:xfrm>
        </p:spPr>
        <p:txBody>
          <a:bodyPr/>
          <a:lstStyle/>
          <a:p>
            <a:r>
              <a:rPr lang="de-DE" dirty="0">
                <a:latin typeface="GEA Sans Bold"/>
              </a:rPr>
              <a:t>PR GEA </a:t>
            </a:r>
            <a:r>
              <a:rPr lang="de-DE" dirty="0" err="1">
                <a:latin typeface="GEA Sans Bold"/>
              </a:rPr>
              <a:t>InsightPartner</a:t>
            </a:r>
            <a:r>
              <a:rPr lang="de-DE" dirty="0">
                <a:latin typeface="GEA Sans Bold"/>
              </a:rPr>
              <a:t> Brewing 3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B15AC3D-2C19-0003-FE73-8DB1342AD4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e-DE" dirty="0" err="1"/>
              <a:t>Social</a:t>
            </a:r>
            <a:r>
              <a:rPr lang="de-DE" dirty="0"/>
              <a:t> 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post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ADAC125-982A-5CCF-55A6-BD1C76DC9B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vert="horz" lIns="0" tIns="0" rIns="0" bIns="0" rtlCol="0" anchor="t"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2589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F42E56E-4E1E-4F1B-A0B2-EF042D1CE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GEA Group post (CC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380250-D2ED-4A5B-A07D-AF6379F079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088555" y="6546852"/>
            <a:ext cx="525596" cy="107722"/>
          </a:xfrm>
        </p:spPr>
        <p:txBody>
          <a:bodyPr/>
          <a:lstStyle/>
          <a:p>
            <a:fld id="{D46619FA-62B9-4C58-8D46-9877ED4AF800}" type="slidenum">
              <a:rPr lang="en-US" smtClean="0"/>
              <a:pPr/>
              <a:t>2</a:t>
            </a:fld>
            <a:r>
              <a:rPr lang="en-US"/>
              <a:t>  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EDCC8556-5613-4847-AD78-0F1F4875E6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232114"/>
              </p:ext>
            </p:extLst>
          </p:nvPr>
        </p:nvGraphicFramePr>
        <p:xfrm>
          <a:off x="203113" y="626766"/>
          <a:ext cx="5600896" cy="65052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4544">
                  <a:extLst>
                    <a:ext uri="{9D8B030D-6E8A-4147-A177-3AD203B41FA5}">
                      <a16:colId xmlns:a16="http://schemas.microsoft.com/office/drawing/2014/main" val="3644891064"/>
                    </a:ext>
                  </a:extLst>
                </a:gridCol>
                <a:gridCol w="4506352">
                  <a:extLst>
                    <a:ext uri="{9D8B030D-6E8A-4147-A177-3AD203B41FA5}">
                      <a16:colId xmlns:a16="http://schemas.microsoft.com/office/drawing/2014/main" val="2155166791"/>
                    </a:ext>
                  </a:extLst>
                </a:gridCol>
              </a:tblGrid>
              <a:tr h="444040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Inter"/>
                        </a:rPr>
                        <a:t>Channel(s)</a:t>
                      </a:r>
                    </a:p>
                  </a:txBody>
                  <a:tcPr marL="121920" marR="121920" marT="60960" marB="6096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Inter"/>
                        </a:rPr>
                        <a:t>LinkedIn</a:t>
                      </a:r>
                    </a:p>
                  </a:txBody>
                  <a:tcPr marL="121920" marR="121920" marT="60960" marB="60960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49324"/>
                  </a:ext>
                </a:extLst>
              </a:tr>
              <a:tr h="444040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Inter"/>
                        </a:rPr>
                        <a:t>Time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Inter"/>
                        </a:rPr>
                        <a:t>Oct 17</a:t>
                      </a:r>
                    </a:p>
                    <a:p>
                      <a:r>
                        <a:rPr lang="en-US" sz="1100" dirty="0">
                          <a:latin typeface="Inter"/>
                        </a:rPr>
                        <a:t>Time </a:t>
                      </a:r>
                      <a:r>
                        <a:rPr lang="en-US" sz="1100" dirty="0" err="1">
                          <a:latin typeface="Inter"/>
                        </a:rPr>
                        <a:t>tbd</a:t>
                      </a:r>
                      <a:endParaRPr lang="en-US" sz="1100" dirty="0">
                        <a:latin typeface="Inter"/>
                      </a:endParaRP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2237343"/>
                  </a:ext>
                </a:extLst>
              </a:tr>
              <a:tr h="444040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Inter"/>
                        </a:rPr>
                        <a:t>Language(s)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Inter"/>
                        </a:rPr>
                        <a:t>EN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423921"/>
                  </a:ext>
                </a:extLst>
              </a:tr>
              <a:tr h="444040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Inter"/>
                        </a:rPr>
                        <a:t>Links to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 dirty="0">
                          <a:latin typeface="+mn-lt"/>
                        </a:rPr>
                        <a:t>https://gea.com/en/news/trade-press/2023/sustainability-kpi-in-brewing.jsp</a:t>
                      </a:r>
                      <a:endParaRPr lang="en-US" sz="1100" dirty="0">
                        <a:latin typeface="Inter"/>
                      </a:endParaRP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547470"/>
                  </a:ext>
                </a:extLst>
              </a:tr>
              <a:tr h="494475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Inter"/>
                        </a:rPr>
                        <a:t>Hashtag(s)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Inter"/>
                        </a:rPr>
                        <a:t>See text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684893"/>
                  </a:ext>
                </a:extLst>
              </a:tr>
              <a:tr h="1519712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Inter"/>
                        </a:rPr>
                        <a:t>Teaser Content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 dirty="0"/>
                        <a:t>#Beer production is not only precisely timed, it’s also energy intensive. If brewers don't work on energy efficiency today, they can easily lose the rhythm.</a:t>
                      </a:r>
                    </a:p>
                    <a:p>
                      <a:pPr lvl="0">
                        <a:buNone/>
                      </a:pPr>
                      <a:endParaRPr lang="en-US" sz="1100" dirty="0"/>
                    </a:p>
                    <a:p>
                      <a:pPr lvl="0">
                        <a:buNone/>
                      </a:pPr>
                      <a:r>
                        <a:rPr lang="en-US" sz="1100" dirty="0"/>
                        <a:t>Our new release of the digital tool GEA </a:t>
                      </a:r>
                      <a:r>
                        <a:rPr lang="en-US" sz="1100" dirty="0" err="1"/>
                        <a:t>InsightPartner</a:t>
                      </a:r>
                      <a:r>
                        <a:rPr lang="en-US" sz="1100" dirty="0"/>
                        <a:t> Brewery interprets modern sensor technology through #KI and helps make #sustainability a reality.</a:t>
                      </a:r>
                    </a:p>
                    <a:p>
                      <a:pPr lvl="0">
                        <a:buNone/>
                      </a:pPr>
                      <a:endParaRPr lang="en-US" sz="1100" dirty="0"/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t calculates real-time sustainability metrics based on energy, heat recovery and water consumption.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t analyzes and improves related events in production.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t helps breweries plan production flexibly rather than rigidly by recipe.</a:t>
                      </a:r>
                    </a:p>
                    <a:p>
                      <a:pPr lvl="0">
                        <a:buNone/>
                      </a:pPr>
                      <a:endParaRPr lang="en-US" sz="1100" dirty="0"/>
                    </a:p>
                    <a:p>
                      <a:pPr lvl="0">
                        <a:buNone/>
                      </a:pPr>
                      <a:r>
                        <a:rPr lang="de-DE" sz="1100" dirty="0"/>
                        <a:t>This </a:t>
                      </a:r>
                      <a:r>
                        <a:rPr lang="de-DE" sz="1100" dirty="0" err="1"/>
                        <a:t>is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how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it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works</a:t>
                      </a:r>
                      <a:r>
                        <a:rPr lang="de-DE" sz="1100" dirty="0"/>
                        <a:t>: </a:t>
                      </a:r>
                      <a:r>
                        <a:rPr lang="en-US" sz="1100" dirty="0"/>
                        <a:t>insights at your fingertips and brewing in sync. https://gea.com/en/news/trade-press/2023/sustainability-kpi-in-brewing.jsp</a:t>
                      </a:r>
                    </a:p>
                    <a:p>
                      <a:pPr lvl="0">
                        <a:buNone/>
                      </a:pPr>
                      <a:endParaRPr lang="en-US" sz="1100" dirty="0"/>
                    </a:p>
                    <a:p>
                      <a:pPr lvl="0">
                        <a:buNone/>
                      </a:pPr>
                      <a:r>
                        <a:rPr lang="en-US" sz="1100" dirty="0"/>
                        <a:t>#engineeringforabetterworld #digitalization #DnA</a:t>
                      </a:r>
                      <a:endParaRPr lang="de-DE" dirty="0"/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2033118"/>
                  </a:ext>
                </a:extLst>
              </a:tr>
              <a:tr h="44403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dirty="0">
                          <a:latin typeface="Inter"/>
                        </a:rPr>
                        <a:t>Visual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latin typeface="Inter"/>
                          <a:ea typeface="+mn-ea"/>
                          <a:cs typeface="+mn-cs"/>
                        </a:rPr>
                        <a:t>See </a:t>
                      </a:r>
                      <a:r>
                        <a:rPr lang="de-DE" sz="1100" b="0" i="0" u="none" strike="noStrike" kern="1200" dirty="0" err="1">
                          <a:solidFill>
                            <a:srgbClr val="000000"/>
                          </a:solidFill>
                          <a:latin typeface="Inter"/>
                          <a:ea typeface="+mn-ea"/>
                          <a:cs typeface="+mn-cs"/>
                        </a:rPr>
                        <a:t>attached</a:t>
                      </a:r>
                      <a:endParaRPr lang="de-DE" sz="1100" b="0" i="0" u="none" strike="noStrike" kern="1200" dirty="0">
                        <a:solidFill>
                          <a:srgbClr val="000000"/>
                        </a:solidFill>
                        <a:latin typeface="Inter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002220"/>
                  </a:ext>
                </a:extLst>
              </a:tr>
              <a:tr h="44403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dirty="0">
                          <a:latin typeface="Inter"/>
                        </a:rPr>
                        <a:t>Social handles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b="0" i="0" u="none" strike="noStrike" kern="1200" dirty="0">
                        <a:solidFill>
                          <a:srgbClr val="000000"/>
                        </a:solidFill>
                        <a:latin typeface="Inter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1346515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8338364-C347-E984-AD6F-3CC55526E9C6}"/>
              </a:ext>
            </a:extLst>
          </p:cNvPr>
          <p:cNvSpPr txBox="1"/>
          <p:nvPr/>
        </p:nvSpPr>
        <p:spPr>
          <a:xfrm>
            <a:off x="6710291" y="924593"/>
            <a:ext cx="2624210" cy="101566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de-DE" sz="1100" b="1" dirty="0"/>
              <a:t>X:</a:t>
            </a:r>
          </a:p>
          <a:p>
            <a:br>
              <a:rPr lang="de-DE" sz="1100" b="1" dirty="0"/>
            </a:br>
            <a:r>
              <a:rPr lang="en-US" sz="1100" dirty="0"/>
              <a:t>A new GEA software analyzes and forecasts sustainability KPIs for every process step in #brewing – at the push of a button.</a:t>
            </a:r>
            <a:endParaRPr lang="de-DE" sz="11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B9A9E9-07F0-6817-67D6-AF5823AF6B67}"/>
              </a:ext>
            </a:extLst>
          </p:cNvPr>
          <p:cNvSpPr txBox="1"/>
          <p:nvPr/>
        </p:nvSpPr>
        <p:spPr>
          <a:xfrm>
            <a:off x="10188222" y="925183"/>
            <a:ext cx="1800665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de-DE" sz="1100" b="1" dirty="0"/>
              <a:t>Facebook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7DFD4F9-E403-A9C0-76FF-833C8B5E5680}"/>
              </a:ext>
            </a:extLst>
          </p:cNvPr>
          <p:cNvSpPr txBox="1"/>
          <p:nvPr/>
        </p:nvSpPr>
        <p:spPr>
          <a:xfrm>
            <a:off x="9464040" y="1235333"/>
            <a:ext cx="2684707" cy="5170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None/>
            </a:pPr>
            <a:r>
              <a:rPr lang="en-US" sz="1100" dirty="0"/>
              <a:t>#Beer production is not only precisely timed, it’s also energy intensive. If brewers don't work on energy efficiency today, they can easily lose the rhythm.</a:t>
            </a:r>
          </a:p>
          <a:p>
            <a:pPr lvl="0">
              <a:buNone/>
            </a:pPr>
            <a:endParaRPr lang="en-US" sz="1100" dirty="0"/>
          </a:p>
          <a:p>
            <a:pPr lvl="0">
              <a:buNone/>
            </a:pPr>
            <a:r>
              <a:rPr lang="en-US" sz="1100" dirty="0"/>
              <a:t>Our new release of the digital tool GEA </a:t>
            </a:r>
            <a:r>
              <a:rPr lang="en-US" sz="1100" dirty="0" err="1"/>
              <a:t>InsightPartner</a:t>
            </a:r>
            <a:r>
              <a:rPr lang="en-US" sz="1100" dirty="0"/>
              <a:t> Brewery interprets modern sensor technology through #KI and helps make #sustainability a reality. It:</a:t>
            </a:r>
          </a:p>
          <a:p>
            <a:pPr lvl="0">
              <a:buNone/>
            </a:pPr>
            <a:endParaRPr lang="en-US" sz="11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100" dirty="0"/>
              <a:t>Calculates real-time sustainability metrics based on energy, heat recovery and water consumptio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100" dirty="0"/>
              <a:t>Analyzes and improves related events in productio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100" dirty="0"/>
              <a:t>Helps breweries plan production flexibly rather than rigidly by recipe</a:t>
            </a:r>
          </a:p>
          <a:p>
            <a:pPr lvl="0">
              <a:buNone/>
            </a:pPr>
            <a:endParaRPr lang="en-US" sz="1100" dirty="0"/>
          </a:p>
          <a:p>
            <a:pPr lvl="0">
              <a:buNone/>
            </a:pPr>
            <a:r>
              <a:rPr lang="de-DE" sz="1100" dirty="0"/>
              <a:t>This </a:t>
            </a:r>
            <a:r>
              <a:rPr lang="de-DE" sz="1100" dirty="0" err="1"/>
              <a:t>is</a:t>
            </a:r>
            <a:r>
              <a:rPr lang="de-DE" sz="1100" dirty="0"/>
              <a:t> </a:t>
            </a:r>
            <a:r>
              <a:rPr lang="de-DE" sz="1100" dirty="0" err="1"/>
              <a:t>how</a:t>
            </a:r>
            <a:r>
              <a:rPr lang="de-DE" sz="1100" dirty="0"/>
              <a:t> </a:t>
            </a:r>
            <a:r>
              <a:rPr lang="de-DE" sz="1100" dirty="0" err="1"/>
              <a:t>it</a:t>
            </a:r>
            <a:r>
              <a:rPr lang="de-DE" sz="1100" dirty="0"/>
              <a:t> </a:t>
            </a:r>
            <a:r>
              <a:rPr lang="de-DE" sz="1100" dirty="0" err="1"/>
              <a:t>works</a:t>
            </a:r>
            <a:r>
              <a:rPr lang="de-DE" sz="1100" dirty="0"/>
              <a:t>: </a:t>
            </a:r>
            <a:r>
              <a:rPr lang="en-US" sz="1100" dirty="0"/>
              <a:t>insights at your fingertips and brewing in sync. https://gea.com/en/news/trade-press/2023/sustainability-kpi-in-brewing.jsp</a:t>
            </a:r>
          </a:p>
          <a:p>
            <a:pPr lvl="0">
              <a:buNone/>
            </a:pPr>
            <a:endParaRPr lang="en-US" sz="1100" dirty="0"/>
          </a:p>
          <a:p>
            <a:pPr lvl="0">
              <a:buNone/>
            </a:pPr>
            <a:r>
              <a:rPr lang="en-US" sz="1100" dirty="0"/>
              <a:t>#engineeringforabetterworld #digitalization #DnA</a:t>
            </a:r>
            <a:endParaRPr lang="de-DE" sz="1100" dirty="0"/>
          </a:p>
          <a:p>
            <a:pPr lvl="0">
              <a:buNone/>
            </a:pPr>
            <a:endParaRPr lang="en-US" sz="1100" dirty="0"/>
          </a:p>
        </p:txBody>
      </p:sp>
      <p:pic>
        <p:nvPicPr>
          <p:cNvPr id="1026" name="Picture 2" descr="Bild">
            <a:extLst>
              <a:ext uri="{FF2B5EF4-FFF2-40B4-BE49-F238E27FC236}">
                <a16:creationId xmlns:a16="http://schemas.microsoft.com/office/drawing/2014/main" id="{6E10B2A7-29F8-E327-2432-73E6BDCFCE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4009" y="4583582"/>
            <a:ext cx="3380203" cy="1624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alkendiagramm">
            <a:extLst>
              <a:ext uri="{FF2B5EF4-FFF2-40B4-BE49-F238E27FC236}">
                <a16:creationId xmlns:a16="http://schemas.microsoft.com/office/drawing/2014/main" id="{118246B4-44EF-E35C-6546-5B4671B141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3620" y="4583582"/>
            <a:ext cx="1905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Negative Grafik">
            <a:extLst>
              <a:ext uri="{FF2B5EF4-FFF2-40B4-BE49-F238E27FC236}">
                <a16:creationId xmlns:a16="http://schemas.microsoft.com/office/drawing/2014/main" id="{C5F62257-4055-CB7F-4428-E7C167D176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2279" y="4334527"/>
            <a:ext cx="1905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Bogenschießen">
            <a:extLst>
              <a:ext uri="{FF2B5EF4-FFF2-40B4-BE49-F238E27FC236}">
                <a16:creationId xmlns:a16="http://schemas.microsoft.com/office/drawing/2014/main" id="{4C1766DA-C473-311B-A811-677162D726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2279" y="4795693"/>
            <a:ext cx="1905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ach rechts weisender Zeigefinger (Handrücken)">
            <a:extLst>
              <a:ext uri="{FF2B5EF4-FFF2-40B4-BE49-F238E27FC236}">
                <a16:creationId xmlns:a16="http://schemas.microsoft.com/office/drawing/2014/main" id="{393CCB74-4C5D-B43D-FF0E-C6C20A23E5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779" y="5300886"/>
            <a:ext cx="1905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565344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F42E56E-4E1E-4F1B-A0B2-EF042D1CE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GEA Group post (CC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380250-D2ED-4A5B-A07D-AF6379F079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088555" y="6546852"/>
            <a:ext cx="525596" cy="107722"/>
          </a:xfrm>
        </p:spPr>
        <p:txBody>
          <a:bodyPr/>
          <a:lstStyle/>
          <a:p>
            <a:fld id="{D46619FA-62B9-4C58-8D46-9877ED4AF800}" type="slidenum">
              <a:rPr lang="en-US" smtClean="0"/>
              <a:pPr/>
              <a:t>3</a:t>
            </a:fld>
            <a:r>
              <a:rPr lang="en-US"/>
              <a:t>  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EDCC8556-5613-4847-AD78-0F1F4875E6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0613648"/>
              </p:ext>
            </p:extLst>
          </p:nvPr>
        </p:nvGraphicFramePr>
        <p:xfrm>
          <a:off x="203113" y="626766"/>
          <a:ext cx="5600896" cy="65052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4544">
                  <a:extLst>
                    <a:ext uri="{9D8B030D-6E8A-4147-A177-3AD203B41FA5}">
                      <a16:colId xmlns:a16="http://schemas.microsoft.com/office/drawing/2014/main" val="3644891064"/>
                    </a:ext>
                  </a:extLst>
                </a:gridCol>
                <a:gridCol w="4506352">
                  <a:extLst>
                    <a:ext uri="{9D8B030D-6E8A-4147-A177-3AD203B41FA5}">
                      <a16:colId xmlns:a16="http://schemas.microsoft.com/office/drawing/2014/main" val="2155166791"/>
                    </a:ext>
                  </a:extLst>
                </a:gridCol>
              </a:tblGrid>
              <a:tr h="444040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Inter"/>
                        </a:rPr>
                        <a:t>Channel(s)</a:t>
                      </a:r>
                    </a:p>
                  </a:txBody>
                  <a:tcPr marL="121920" marR="121920" marT="60960" marB="6096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Inter"/>
                        </a:rPr>
                        <a:t>LinkedIn</a:t>
                      </a:r>
                    </a:p>
                  </a:txBody>
                  <a:tcPr marL="121920" marR="121920" marT="60960" marB="60960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9849324"/>
                  </a:ext>
                </a:extLst>
              </a:tr>
              <a:tr h="444040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Inter"/>
                        </a:rPr>
                        <a:t>Time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Inter"/>
                        </a:rPr>
                        <a:t>Oct 17</a:t>
                      </a:r>
                    </a:p>
                    <a:p>
                      <a:r>
                        <a:rPr lang="en-US" sz="1100" dirty="0">
                          <a:latin typeface="Inter"/>
                        </a:rPr>
                        <a:t>Time </a:t>
                      </a:r>
                      <a:r>
                        <a:rPr lang="en-US" sz="1100" dirty="0" err="1">
                          <a:latin typeface="Inter"/>
                        </a:rPr>
                        <a:t>tbd</a:t>
                      </a:r>
                      <a:endParaRPr lang="en-US" sz="1100" dirty="0">
                        <a:latin typeface="Inter"/>
                      </a:endParaRP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2237343"/>
                  </a:ext>
                </a:extLst>
              </a:tr>
              <a:tr h="444040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Inter"/>
                        </a:rPr>
                        <a:t>Language(s)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Inter"/>
                        </a:rPr>
                        <a:t>DE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1423921"/>
                  </a:ext>
                </a:extLst>
              </a:tr>
              <a:tr h="444040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Inter"/>
                        </a:rPr>
                        <a:t>Links to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 dirty="0">
                          <a:latin typeface="+mn-lt"/>
                        </a:rPr>
                        <a:t>https://gea.com/de/news/trade-press/2023/sustainability-kpi-in-brewing.jsp</a:t>
                      </a:r>
                      <a:endParaRPr lang="en-US" sz="1100" dirty="0">
                        <a:latin typeface="Inter"/>
                      </a:endParaRP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547470"/>
                  </a:ext>
                </a:extLst>
              </a:tr>
              <a:tr h="494475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Inter"/>
                        </a:rPr>
                        <a:t>Hashtag(s)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Inter"/>
                        </a:rPr>
                        <a:t>See text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684893"/>
                  </a:ext>
                </a:extLst>
              </a:tr>
              <a:tr h="1519712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Inter"/>
                        </a:rPr>
                        <a:t>Teaser Content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latin typeface="+mn-lt"/>
                        </a:rPr>
                        <a:t>Die Bierproduktion ist nicht nur präzise durchgetaktet, sie ist auch energieintensiv. Wer heute nicht an der #Energieeffizienz arbeitet, gerät leicht aus dem Takt. Schützenhilfe zum Umsetzen von #Nachhaltigkeit kommt vom neuen digitalen GEA-Tool, das nun moderne Sensorik durch #KI interpretiert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dirty="0"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latin typeface="+mn-lt"/>
                        </a:rPr>
                        <a:t>GEA #InsightPartner </a:t>
                      </a:r>
                      <a:r>
                        <a:rPr lang="de-DE" sz="1100" dirty="0" err="1">
                          <a:latin typeface="+mn-lt"/>
                        </a:rPr>
                        <a:t>Brewery</a:t>
                      </a:r>
                      <a:r>
                        <a:rPr lang="de-DE" sz="1100" dirty="0">
                          <a:latin typeface="+mn-lt"/>
                        </a:rPr>
                        <a:t>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100" dirty="0">
                          <a:latin typeface="+mn-lt"/>
                        </a:rPr>
                        <a:t>Zeigt Verbrauchsdaten zu #Energie, #Wärmerückgewinnung und #Wasser in Echtzei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100" dirty="0">
                          <a:latin typeface="+mn-lt"/>
                        </a:rPr>
                        <a:t>Analysiert zusammenhängende Ereignisse in der Produktion und schlägt Verbesserungen vo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100" dirty="0">
                          <a:latin typeface="+mn-lt"/>
                        </a:rPr>
                        <a:t>Hilft Brauern, ihre Produktion flexibel statt starr nach Rezept zu plane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dirty="0"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>
                          <a:latin typeface="+mn-lt"/>
                        </a:rPr>
                        <a:t>So funktioniert Wissen auf Knopfdruck und Brauen im Takt: https://gea.com/de/news/trade-press/2023/sustainability-kpi-in-brewing.jsp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  <a:p>
                      <a:pPr lvl="0">
                        <a:buNone/>
                      </a:pPr>
                      <a:r>
                        <a:rPr lang="en-US" sz="1100" dirty="0"/>
                        <a:t>#engineeringforabetterworld #Digitalisierung #DnA #Bier</a:t>
                      </a:r>
                      <a:endParaRPr lang="de-DE" dirty="0"/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2033118"/>
                  </a:ext>
                </a:extLst>
              </a:tr>
              <a:tr h="44403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dirty="0">
                          <a:latin typeface="Inter"/>
                        </a:rPr>
                        <a:t>Visual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de-DE" sz="1100" b="0" i="0" u="none" strike="noStrike" kern="1200" dirty="0">
                          <a:solidFill>
                            <a:srgbClr val="000000"/>
                          </a:solidFill>
                          <a:latin typeface="Inter"/>
                          <a:ea typeface="+mn-ea"/>
                          <a:cs typeface="+mn-cs"/>
                        </a:rPr>
                        <a:t>See </a:t>
                      </a:r>
                      <a:r>
                        <a:rPr lang="de-DE" sz="1100" b="0" i="0" u="none" strike="noStrike" kern="1200" dirty="0" err="1">
                          <a:solidFill>
                            <a:srgbClr val="000000"/>
                          </a:solidFill>
                          <a:latin typeface="Inter"/>
                          <a:ea typeface="+mn-ea"/>
                          <a:cs typeface="+mn-cs"/>
                        </a:rPr>
                        <a:t>attached</a:t>
                      </a:r>
                      <a:endParaRPr lang="de-DE" sz="1100" b="0" i="0" u="none" strike="noStrike" kern="1200" dirty="0">
                        <a:solidFill>
                          <a:srgbClr val="000000"/>
                        </a:solidFill>
                        <a:latin typeface="Inter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002220"/>
                  </a:ext>
                </a:extLst>
              </a:tr>
              <a:tr h="444039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dirty="0">
                          <a:latin typeface="Inter"/>
                        </a:rPr>
                        <a:t>Social handles</a:t>
                      </a: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100" b="0" i="0" u="none" strike="noStrike" kern="1200" dirty="0">
                        <a:solidFill>
                          <a:srgbClr val="000000"/>
                        </a:solidFill>
                        <a:latin typeface="Inter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1346515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8338364-C347-E984-AD6F-3CC55526E9C6}"/>
              </a:ext>
            </a:extLst>
          </p:cNvPr>
          <p:cNvSpPr txBox="1"/>
          <p:nvPr/>
        </p:nvSpPr>
        <p:spPr>
          <a:xfrm>
            <a:off x="6710291" y="924593"/>
            <a:ext cx="2624210" cy="135421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de-DE" sz="1100" b="1" dirty="0"/>
              <a:t>X:</a:t>
            </a:r>
            <a:br>
              <a:rPr lang="de-DE" sz="1100" b="1" dirty="0"/>
            </a:br>
            <a:endParaRPr lang="de-DE" sz="1100" b="1" dirty="0"/>
          </a:p>
          <a:p>
            <a:r>
              <a:rPr lang="de-DE" sz="1100" dirty="0"/>
              <a:t>Eine neue GEA-</a:t>
            </a:r>
            <a:r>
              <a:rPr lang="de-DE" sz="1100" dirty="0">
                <a:latin typeface="+mn-lt"/>
              </a:rPr>
              <a:t>Software analysiert und prognostiziert Nachhaltigkeits-KPI für jedem Prozessschritt des Brauens – auf Knopfdruck. </a:t>
            </a:r>
            <a:endParaRPr lang="en-US" sz="1100" dirty="0">
              <a:latin typeface="Inter"/>
            </a:endParaRPr>
          </a:p>
          <a:p>
            <a:pPr lvl="0">
              <a:buNone/>
            </a:pPr>
            <a:endParaRPr lang="en-US" sz="1100" dirty="0"/>
          </a:p>
          <a:p>
            <a:pPr>
              <a:buClr>
                <a:schemeClr val="accent1"/>
              </a:buClr>
            </a:pPr>
            <a:endParaRPr lang="de-DE" sz="11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B9A9E9-07F0-6817-67D6-AF5823AF6B67}"/>
              </a:ext>
            </a:extLst>
          </p:cNvPr>
          <p:cNvSpPr txBox="1"/>
          <p:nvPr/>
        </p:nvSpPr>
        <p:spPr>
          <a:xfrm>
            <a:off x="10188222" y="925183"/>
            <a:ext cx="1800665" cy="1692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de-DE" sz="1100" b="1" dirty="0"/>
              <a:t>Facebook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7DFD4F9-E403-A9C0-76FF-833C8B5E5680}"/>
              </a:ext>
            </a:extLst>
          </p:cNvPr>
          <p:cNvSpPr txBox="1"/>
          <p:nvPr/>
        </p:nvSpPr>
        <p:spPr>
          <a:xfrm>
            <a:off x="9464040" y="1235333"/>
            <a:ext cx="2684707" cy="5170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dirty="0">
                <a:latin typeface="+mn-lt"/>
              </a:rPr>
              <a:t>Die Bierproduktion ist nicht nur präzise durchgetaktet, sie ist auch energieintensiv. Wer heute nicht an der #Energieeffizienz arbeitet, gerät leicht aus dem Takt. Schützenhilfe zum Umsetzen von #Nachhaltigkeit kommt vom neuen digitalen GEA-Tool, das nun moderne Sensorik durch #KI interpretier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100" dirty="0"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dirty="0">
                <a:latin typeface="+mn-lt"/>
              </a:rPr>
              <a:t>GEA #InsightPartner </a:t>
            </a:r>
            <a:r>
              <a:rPr lang="de-DE" sz="1100" dirty="0" err="1">
                <a:latin typeface="+mn-lt"/>
              </a:rPr>
              <a:t>Brewery</a:t>
            </a:r>
            <a:r>
              <a:rPr lang="de-DE" sz="1100" dirty="0">
                <a:latin typeface="+mn-lt"/>
              </a:rPr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100" dirty="0">
                <a:latin typeface="+mn-lt"/>
              </a:rPr>
              <a:t>Zeigt Verbrauchsdaten zu #Energie, #Wärmerückgewinnung und #Wasser in Echtzei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100" dirty="0">
                <a:latin typeface="+mn-lt"/>
              </a:rPr>
              <a:t>Analysiert zusammenhängende Ereignisse in der Produktion und schlägt Verbesserungen vo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sz="1100" dirty="0">
                <a:latin typeface="+mn-lt"/>
              </a:rPr>
              <a:t>Hilft Brauern, ihre Produktion flexibel statt starr nach Rezept zu plan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100" dirty="0"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dirty="0">
                <a:latin typeface="+mn-lt"/>
              </a:rPr>
              <a:t>So funktioniert Wissen auf Knopfdruck und Brauen im Takt: https://gea.com/de/news/trade-press/2023/sustainability-kpi-in-brewing.js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dirty="0"/>
          </a:p>
          <a:p>
            <a:pPr lvl="0">
              <a:buNone/>
            </a:pPr>
            <a:r>
              <a:rPr lang="en-US" sz="1100" dirty="0"/>
              <a:t>#engineeringforabetterworld #Digitalisierung #DnA #Bier</a:t>
            </a:r>
            <a:endParaRPr lang="de-DE" sz="1100" dirty="0"/>
          </a:p>
          <a:p>
            <a:pPr lvl="0">
              <a:buNone/>
            </a:pPr>
            <a:endParaRPr lang="en-US" sz="1100" dirty="0"/>
          </a:p>
        </p:txBody>
      </p:sp>
      <p:pic>
        <p:nvPicPr>
          <p:cNvPr id="2050" name="Picture 2" descr="Bild">
            <a:extLst>
              <a:ext uri="{FF2B5EF4-FFF2-40B4-BE49-F238E27FC236}">
                <a16:creationId xmlns:a16="http://schemas.microsoft.com/office/drawing/2014/main" id="{FB51B746-7DA0-2C3F-1422-0A5DA051ED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4009" y="4660111"/>
            <a:ext cx="3350080" cy="16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Balkendiagramm">
            <a:extLst>
              <a:ext uri="{FF2B5EF4-FFF2-40B4-BE49-F238E27FC236}">
                <a16:creationId xmlns:a16="http://schemas.microsoft.com/office/drawing/2014/main" id="{36F43E02-9808-D448-7153-A76202A13E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2279" y="4469611"/>
            <a:ext cx="1905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Bogenschießen">
            <a:extLst>
              <a:ext uri="{FF2B5EF4-FFF2-40B4-BE49-F238E27FC236}">
                <a16:creationId xmlns:a16="http://schemas.microsoft.com/office/drawing/2014/main" id="{55ABF800-C2CE-3338-7343-643E4C8C8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2279" y="4795693"/>
            <a:ext cx="1905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Negative Grafik">
            <a:extLst>
              <a:ext uri="{FF2B5EF4-FFF2-40B4-BE49-F238E27FC236}">
                <a16:creationId xmlns:a16="http://schemas.microsoft.com/office/drawing/2014/main" id="{6B774367-7C3F-3459-BEF8-EEECCD214E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2279" y="4161463"/>
            <a:ext cx="1905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Nach rechts weisender Zeigefinger (Handrücken)">
            <a:extLst>
              <a:ext uri="{FF2B5EF4-FFF2-40B4-BE49-F238E27FC236}">
                <a16:creationId xmlns:a16="http://schemas.microsoft.com/office/drawing/2014/main" id="{BBC323F5-F831-DF1B-EA7B-F1CB2073DA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779" y="5300886"/>
            <a:ext cx="1905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602884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A_Template">
  <a:themeElements>
    <a:clrScheme name="GEA_Colors">
      <a:dk1>
        <a:sysClr val="windowText" lastClr="000000"/>
      </a:dk1>
      <a:lt1>
        <a:sysClr val="window" lastClr="FFFFFF"/>
      </a:lt1>
      <a:dk2>
        <a:srgbClr val="0303B8"/>
      </a:dk2>
      <a:lt2>
        <a:srgbClr val="E6E6E6"/>
      </a:lt2>
      <a:accent1>
        <a:srgbClr val="0303B8"/>
      </a:accent1>
      <a:accent2>
        <a:srgbClr val="1F9DFF"/>
      </a:accent2>
      <a:accent3>
        <a:srgbClr val="000F41"/>
      </a:accent3>
      <a:accent4>
        <a:srgbClr val="E6E6E6"/>
      </a:accent4>
      <a:accent5>
        <a:srgbClr val="1AFF80"/>
      </a:accent5>
      <a:accent6>
        <a:srgbClr val="FF80FF"/>
      </a:accent6>
      <a:hlink>
        <a:srgbClr val="1F9DFF"/>
      </a:hlink>
      <a:folHlink>
        <a:srgbClr val="1F9DFF"/>
      </a:folHlink>
    </a:clrScheme>
    <a:fontScheme name="GEA_fonts">
      <a:majorFont>
        <a:latin typeface="Inter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>
          <a:noFill/>
        </a:ln>
      </a:spPr>
      <a:bodyPr lIns="108000" tIns="72000" rIns="108000" bIns="72000" rtlCol="0" anchor="ctr"/>
      <a:lstStyle>
        <a:defPPr marL="174625" indent="-174625" algn="l">
          <a:buFont typeface="Wingdings" panose="05000000000000000000" pitchFamily="2" charset="2"/>
          <a:buChar char="§"/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buClr>
            <a:schemeClr val="accent1"/>
          </a:buClr>
          <a:defRPr sz="1400" dirty="0" err="1" smtClean="0"/>
        </a:defPPr>
      </a:lstStyle>
    </a:txDef>
  </a:objectDefaults>
  <a:extraClrSchemeLst/>
  <a:custClrLst>
    <a:custClr name="Dark Red">
      <a:srgbClr val="57021D"/>
    </a:custClr>
    <a:custClr name="Red">
      <a:srgbClr val="DB1E28"/>
    </a:custClr>
    <a:custClr name="Light Red">
      <a:srgbClr val="FFA4A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Green">
      <a:srgbClr val="0A3D1B"/>
    </a:custClr>
    <a:custClr name="Green">
      <a:srgbClr val="129C4D"/>
    </a:custClr>
    <a:custClr name="Light Green">
      <a:srgbClr val="53F99B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Yellow">
      <a:srgbClr val="5F5407"/>
    </a:custClr>
    <a:custClr name="Yellow">
      <a:srgbClr val="F2CB00"/>
    </a:custClr>
    <a:custClr name="Light Yellow">
      <a:srgbClr val="FFEA7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20220317_GEA_Template_VibrantBlue.potx" id="{6886B052-CFBE-4C2B-8684-93ABC61292E8}" vid="{6C34DD33-CC3A-439C-B788-63E299A6F99F}"/>
    </a:ext>
  </a:extLst>
</a:theme>
</file>

<file path=ppt/theme/theme2.xml><?xml version="1.0" encoding="utf-8"?>
<a:theme xmlns:a="http://schemas.openxmlformats.org/drawingml/2006/main" name="Office">
  <a:themeElements>
    <a:clrScheme name="GEA_Colors">
      <a:dk1>
        <a:sysClr val="windowText" lastClr="000000"/>
      </a:dk1>
      <a:lt1>
        <a:sysClr val="window" lastClr="FFFFFF"/>
      </a:lt1>
      <a:dk2>
        <a:srgbClr val="0303B8"/>
      </a:dk2>
      <a:lt2>
        <a:srgbClr val="E6E6E6"/>
      </a:lt2>
      <a:accent1>
        <a:srgbClr val="0303B8"/>
      </a:accent1>
      <a:accent2>
        <a:srgbClr val="1F9DFF"/>
      </a:accent2>
      <a:accent3>
        <a:srgbClr val="000F41"/>
      </a:accent3>
      <a:accent4>
        <a:srgbClr val="E6E6E6"/>
      </a:accent4>
      <a:accent5>
        <a:srgbClr val="1AFF80"/>
      </a:accent5>
      <a:accent6>
        <a:srgbClr val="FF80FF"/>
      </a:accent6>
      <a:hlink>
        <a:srgbClr val="1F9DFF"/>
      </a:hlink>
      <a:folHlink>
        <a:srgbClr val="1F9DFF"/>
      </a:folHlink>
    </a:clrScheme>
    <a:fontScheme name="GEA_fonts">
      <a:majorFont>
        <a:latin typeface="Inter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GEA_Colors">
      <a:dk1>
        <a:sysClr val="windowText" lastClr="000000"/>
      </a:dk1>
      <a:lt1>
        <a:sysClr val="window" lastClr="FFFFFF"/>
      </a:lt1>
      <a:dk2>
        <a:srgbClr val="0303B8"/>
      </a:dk2>
      <a:lt2>
        <a:srgbClr val="E6E6E6"/>
      </a:lt2>
      <a:accent1>
        <a:srgbClr val="0303B8"/>
      </a:accent1>
      <a:accent2>
        <a:srgbClr val="1F9DFF"/>
      </a:accent2>
      <a:accent3>
        <a:srgbClr val="000F41"/>
      </a:accent3>
      <a:accent4>
        <a:srgbClr val="E6E6E6"/>
      </a:accent4>
      <a:accent5>
        <a:srgbClr val="1AFF80"/>
      </a:accent5>
      <a:accent6>
        <a:srgbClr val="FF80FF"/>
      </a:accent6>
      <a:hlink>
        <a:srgbClr val="1F9DFF"/>
      </a:hlink>
      <a:folHlink>
        <a:srgbClr val="1F9DFF"/>
      </a:folHlink>
    </a:clrScheme>
    <a:fontScheme name="GEA_fonts">
      <a:majorFont>
        <a:latin typeface="Inter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4BD3450E91924BAE43F5C56A938CCE" ma:contentTypeVersion="14" ma:contentTypeDescription="Create a new document." ma:contentTypeScope="" ma:versionID="020810b5bd22c669a185058785105831">
  <xsd:schema xmlns:xsd="http://www.w3.org/2001/XMLSchema" xmlns:xs="http://www.w3.org/2001/XMLSchema" xmlns:p="http://schemas.microsoft.com/office/2006/metadata/properties" xmlns:ns2="de998b2b-0bbc-4e18-95c1-a6e2c118877a" xmlns:ns3="0577e060-e484-400b-a0e9-f590a78ba005" targetNamespace="http://schemas.microsoft.com/office/2006/metadata/properties" ma:root="true" ma:fieldsID="a541778eba9331007ed48d1267e6bb10" ns2:_="" ns3:_="">
    <xsd:import namespace="de998b2b-0bbc-4e18-95c1-a6e2c118877a"/>
    <xsd:import namespace="0577e060-e484-400b-a0e9-f590a78ba005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998b2b-0bbc-4e18-95c1-a6e2c118877a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669dfa5d-abda-4aae-85b5-f93055ac4d7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77e060-e484-400b-a0e9-f590a78ba005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2ce7c3f5-fe1f-4bc8-b859-dc6ee6784185}" ma:internalName="TaxCatchAll" ma:showField="CatchAllData" ma:web="0577e060-e484-400b-a0e9-f590a78ba00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577e060-e484-400b-a0e9-f590a78ba005" xsi:nil="true"/>
    <lcf76f155ced4ddcb4097134ff3c332f xmlns="de998b2b-0bbc-4e18-95c1-a6e2c118877a">
      <Terms xmlns="http://schemas.microsoft.com/office/infopath/2007/PartnerControls"/>
    </lcf76f155ced4ddcb4097134ff3c332f>
    <SharedWithUsers xmlns="0577e060-e484-400b-a0e9-f590a78ba005">
      <UserInfo>
        <DisplayName>Meiburg, Jill</DisplayName>
        <AccountId>25</AccountId>
        <AccountType/>
      </UserInfo>
      <UserInfo>
        <DisplayName>Keehner, Jill</DisplayName>
        <AccountId>9</AccountId>
        <AccountType/>
      </UserInfo>
      <UserInfo>
        <DisplayName>Oppolzer, Johannes</DisplayName>
        <AccountId>12</AccountId>
        <AccountType/>
      </UserInfo>
      <UserInfo>
        <DisplayName>Wailly, Tea</DisplayName>
        <AccountId>15</AccountId>
        <AccountType/>
      </UserInfo>
      <UserInfo>
        <DisplayName>Moortgat, Davy</DisplayName>
        <AccountId>34</AccountId>
        <AccountType/>
      </UserInfo>
      <UserInfo>
        <DisplayName>Libran, Alicia</DisplayName>
        <AccountId>3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E395836B-F569-4B3C-8FF5-F16047C87E96}">
  <ds:schemaRefs>
    <ds:schemaRef ds:uri="0577e060-e484-400b-a0e9-f590a78ba005"/>
    <ds:schemaRef ds:uri="de998b2b-0bbc-4e18-95c1-a6e2c118877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D653B51-63DB-4D6A-AF62-DDC2C6587B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136110-E5D0-4A79-91EE-8674C725FD4B}">
  <ds:schemaRefs>
    <ds:schemaRef ds:uri="0577e060-e484-400b-a0e9-f590a78ba005"/>
    <ds:schemaRef ds:uri="de998b2b-0bbc-4e18-95c1-a6e2c118877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392ba0ad-d9a0-48c3-b205-3d4e73a4c402}" enabled="1" method="Privileged" siteId="{0e17f90f-88a3-4f93-a5d7-cc847cff307e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GEA_Master_16_9</Template>
  <TotalTime>0</TotalTime>
  <Words>666</Words>
  <Application>Microsoft Office PowerPoint</Application>
  <PresentationFormat>Breitbild</PresentationFormat>
  <Paragraphs>84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1" baseType="lpstr">
      <vt:lpstr>Arial</vt:lpstr>
      <vt:lpstr>GEA Sans Bold</vt:lpstr>
      <vt:lpstr>Inter</vt:lpstr>
      <vt:lpstr>Inter Medium</vt:lpstr>
      <vt:lpstr>Symbol</vt:lpstr>
      <vt:lpstr>Wingdings</vt:lpstr>
      <vt:lpstr>GEA_Template</vt:lpstr>
      <vt:lpstr>think-cell Folie</vt:lpstr>
      <vt:lpstr>PR GEA InsightPartner Brewing 3</vt:lpstr>
      <vt:lpstr>GEA Group post (CC)</vt:lpstr>
      <vt:lpstr>GEA Group post (CC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ssia Ilariuzzi</dc:creator>
  <cp:lastModifiedBy>Foerster, Fanny</cp:lastModifiedBy>
  <cp:revision>141</cp:revision>
  <dcterms:created xsi:type="dcterms:W3CDTF">2022-03-30T07:19:33Z</dcterms:created>
  <dcterms:modified xsi:type="dcterms:W3CDTF">2023-10-17T09:0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4BD3450E91924BAE43F5C56A938CCE</vt:lpwstr>
  </property>
  <property fmtid="{D5CDD505-2E9C-101B-9397-08002B2CF9AE}" pid="3" name="MSIP_Label_392ba0ad-d9a0-48c3-b205-3d4e73a4c402_Enabled">
    <vt:lpwstr>true</vt:lpwstr>
  </property>
  <property fmtid="{D5CDD505-2E9C-101B-9397-08002B2CF9AE}" pid="4" name="MSIP_Label_392ba0ad-d9a0-48c3-b205-3d4e73a4c402_SetDate">
    <vt:lpwstr>2023-01-10T14:04:24Z</vt:lpwstr>
  </property>
  <property fmtid="{D5CDD505-2E9C-101B-9397-08002B2CF9AE}" pid="5" name="MSIP_Label_392ba0ad-d9a0-48c3-b205-3d4e73a4c402_Method">
    <vt:lpwstr>Privileged</vt:lpwstr>
  </property>
  <property fmtid="{D5CDD505-2E9C-101B-9397-08002B2CF9AE}" pid="6" name="MSIP_Label_392ba0ad-d9a0-48c3-b205-3d4e73a4c402_Name">
    <vt:lpwstr>Internal</vt:lpwstr>
  </property>
  <property fmtid="{D5CDD505-2E9C-101B-9397-08002B2CF9AE}" pid="7" name="MSIP_Label_392ba0ad-d9a0-48c3-b205-3d4e73a4c402_SiteId">
    <vt:lpwstr>0e17f90f-88a3-4f93-a5d7-cc847cff307e</vt:lpwstr>
  </property>
  <property fmtid="{D5CDD505-2E9C-101B-9397-08002B2CF9AE}" pid="8" name="MSIP_Label_392ba0ad-d9a0-48c3-b205-3d4e73a4c402_ActionId">
    <vt:lpwstr>d372c8eb-76c1-45a9-bc37-99e3454bc3d9</vt:lpwstr>
  </property>
  <property fmtid="{D5CDD505-2E9C-101B-9397-08002B2CF9AE}" pid="9" name="MSIP_Label_392ba0ad-d9a0-48c3-b205-3d4e73a4c402_ContentBits">
    <vt:lpwstr>2</vt:lpwstr>
  </property>
  <property fmtid="{D5CDD505-2E9C-101B-9397-08002B2CF9AE}" pid="10" name="MediaServiceImageTags">
    <vt:lpwstr/>
  </property>
</Properties>
</file>